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0"/>
  </p:notesMasterIdLst>
  <p:handoutMasterIdLst>
    <p:handoutMasterId r:id="rId11"/>
  </p:handoutMasterIdLst>
  <p:sldIdLst>
    <p:sldId id="408" r:id="rId2"/>
    <p:sldId id="569" r:id="rId3"/>
    <p:sldId id="570" r:id="rId4"/>
    <p:sldId id="573" r:id="rId5"/>
    <p:sldId id="574" r:id="rId6"/>
    <p:sldId id="575" r:id="rId7"/>
    <p:sldId id="576" r:id="rId8"/>
    <p:sldId id="577" r:id="rId9"/>
  </p:sldIdLst>
  <p:sldSz cx="12190413" cy="6858000"/>
  <p:notesSz cx="6805613" cy="99441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0">
          <p15:clr>
            <a:srgbClr val="A4A3A4"/>
          </p15:clr>
        </p15:guide>
        <p15:guide id="2" orient="horz" pos="4020">
          <p15:clr>
            <a:srgbClr val="A4A3A4"/>
          </p15:clr>
        </p15:guide>
        <p15:guide id="3" orient="horz" pos="4205">
          <p15:clr>
            <a:srgbClr val="A4A3A4"/>
          </p15:clr>
        </p15:guide>
        <p15:guide id="4" pos="392">
          <p15:clr>
            <a:srgbClr val="A4A3A4"/>
          </p15:clr>
        </p15:guide>
        <p15:guide id="5" pos="7286">
          <p15:clr>
            <a:srgbClr val="A4A3A4"/>
          </p15:clr>
        </p15:guide>
        <p15:guide id="6" pos="3839">
          <p15:clr>
            <a:srgbClr val="A4A3A4"/>
          </p15:clr>
        </p15:guide>
        <p15:guide id="7" pos="5653">
          <p15:clr>
            <a:srgbClr val="A4A3A4"/>
          </p15:clr>
        </p15:guide>
        <p15:guide id="8">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93A9"/>
    <a:srgbClr val="0091DA"/>
    <a:srgbClr val="731E5A"/>
    <a:srgbClr val="A4C900"/>
    <a:srgbClr val="FFF5B9"/>
    <a:srgbClr val="A68A4D"/>
    <a:srgbClr val="3E88C8"/>
    <a:srgbClr val="0087DA"/>
    <a:srgbClr val="F2E3C6"/>
    <a:srgbClr val="F9F2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DDBD60-6CBA-4936-88C1-CC8A3E4FA0D2}" v="9" dt="2019-06-27T07:14:55.85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645" autoAdjust="0"/>
    <p:restoredTop sz="76903" autoAdjust="0"/>
  </p:normalViewPr>
  <p:slideViewPr>
    <p:cSldViewPr>
      <p:cViewPr varScale="1">
        <p:scale>
          <a:sx n="96" d="100"/>
          <a:sy n="96" d="100"/>
        </p:scale>
        <p:origin x="427" y="62"/>
      </p:cViewPr>
      <p:guideLst>
        <p:guide orient="horz" pos="890"/>
        <p:guide orient="horz" pos="4020"/>
        <p:guide orient="horz" pos="4205"/>
        <p:guide pos="392"/>
        <p:guide pos="7286"/>
        <p:guide pos="3839"/>
        <p:guide pos="5653"/>
        <p:guide/>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howGuides="1">
      <p:cViewPr varScale="1">
        <p:scale>
          <a:sx n="95" d="100"/>
          <a:sy n="95" d="100"/>
        </p:scale>
        <p:origin x="-3630" y="-108"/>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54939" y="0"/>
            <a:ext cx="2949099" cy="497205"/>
          </a:xfrm>
          <a:prstGeom prst="rect">
            <a:avLst/>
          </a:prstGeom>
        </p:spPr>
        <p:txBody>
          <a:bodyPr vert="horz" lIns="91440" tIns="45720" rIns="91440" bIns="45720" rtlCol="0"/>
          <a:lstStyle>
            <a:lvl1pPr algn="r">
              <a:defRPr sz="1200"/>
            </a:lvl1pPr>
          </a:lstStyle>
          <a:p>
            <a:fld id="{CF4A3B59-A20F-4DB0-A844-39D2CE77D328}" type="datetimeFigureOut">
              <a:rPr lang="de-DE" smtClean="0"/>
              <a:t>27.06.2019</a:t>
            </a:fld>
            <a:endParaRPr lang="de-DE" dirty="0"/>
          </a:p>
        </p:txBody>
      </p:sp>
      <p:sp>
        <p:nvSpPr>
          <p:cNvPr id="4" name="Fußzeilenplatzhalter 3"/>
          <p:cNvSpPr>
            <a:spLocks noGrp="1"/>
          </p:cNvSpPr>
          <p:nvPr>
            <p:ph type="ftr" sz="quarter" idx="2"/>
          </p:nvPr>
        </p:nvSpPr>
        <p:spPr>
          <a:xfrm>
            <a:off x="0" y="9445169"/>
            <a:ext cx="2949099" cy="497205"/>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54939" y="9445169"/>
            <a:ext cx="2949099" cy="497205"/>
          </a:xfrm>
          <a:prstGeom prst="rect">
            <a:avLst/>
          </a:prstGeom>
        </p:spPr>
        <p:txBody>
          <a:bodyPr vert="horz" lIns="91440" tIns="45720" rIns="91440" bIns="45720" rtlCol="0" anchor="b"/>
          <a:lstStyle>
            <a:lvl1pPr algn="r">
              <a:defRPr sz="1200"/>
            </a:lvl1pPr>
          </a:lstStyle>
          <a:p>
            <a:fld id="{B8D5E2C4-3674-493A-9DB1-459782A27CC2}" type="slidenum">
              <a:rPr lang="de-DE" smtClean="0"/>
              <a:t>‹Nr.›</a:t>
            </a:fld>
            <a:endParaRPr lang="de-DE" dirty="0"/>
          </a:p>
        </p:txBody>
      </p:sp>
    </p:spTree>
    <p:extLst>
      <p:ext uri="{BB962C8B-B14F-4D97-AF65-F5344CB8AC3E}">
        <p14:creationId xmlns:p14="http://schemas.microsoft.com/office/powerpoint/2010/main" val="9551875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FA043255-3D02-49B1-A46D-961AE75959C9}" type="datetimeFigureOut">
              <a:rPr lang="de-DE" smtClean="0"/>
              <a:t>27.06.2019</a:t>
            </a:fld>
            <a:endParaRPr lang="de-DE" dirty="0"/>
          </a:p>
        </p:txBody>
      </p:sp>
      <p:sp>
        <p:nvSpPr>
          <p:cNvPr id="4" name="Folienbildplatzhalt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6FD6C73A-A351-4718-90AA-9C40DC832E9F}" type="slidenum">
              <a:rPr lang="de-DE" smtClean="0"/>
              <a:t>‹Nr.›</a:t>
            </a:fld>
            <a:endParaRPr lang="de-DE" dirty="0"/>
          </a:p>
        </p:txBody>
      </p:sp>
    </p:spTree>
    <p:extLst>
      <p:ext uri="{BB962C8B-B14F-4D97-AF65-F5344CB8AC3E}">
        <p14:creationId xmlns:p14="http://schemas.microsoft.com/office/powerpoint/2010/main" val="29384605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Danke für die gute Uhrzeit – nicht 23:55 Uhr</a:t>
            </a:r>
          </a:p>
          <a:p>
            <a:pPr marL="171450" indent="-171450">
              <a:buFontTx/>
              <a:buChar char="-"/>
            </a:pPr>
            <a:r>
              <a:rPr lang="de-DE" dirty="0"/>
              <a:t>Danke dass auch Praktiker Gelegenheit erhalten Ihre Wünsche und Sorgen zu adressieren</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6FD6C73A-A351-4718-90AA-9C40DC832E9F}" type="slidenum">
              <a:rPr lang="de-DE" smtClean="0"/>
              <a:t>1</a:t>
            </a:fld>
            <a:endParaRPr lang="de-DE" dirty="0"/>
          </a:p>
        </p:txBody>
      </p:sp>
    </p:spTree>
    <p:extLst>
      <p:ext uri="{BB962C8B-B14F-4D97-AF65-F5344CB8AC3E}">
        <p14:creationId xmlns:p14="http://schemas.microsoft.com/office/powerpoint/2010/main" val="38546097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FD6C73A-A351-4718-90AA-9C40DC832E9F}" type="slidenum">
              <a:rPr lang="de-DE" smtClean="0"/>
              <a:t>2</a:t>
            </a:fld>
            <a:endParaRPr lang="de-DE" dirty="0"/>
          </a:p>
        </p:txBody>
      </p:sp>
    </p:spTree>
    <p:extLst>
      <p:ext uri="{BB962C8B-B14F-4D97-AF65-F5344CB8AC3E}">
        <p14:creationId xmlns:p14="http://schemas.microsoft.com/office/powerpoint/2010/main" val="36533359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a:t>Informationspflichten der Art. 12 bis 14 DSGVO sollen den Grundsätzen der fairen und transparenten Verarbeitung dien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b="1" dirty="0"/>
              <a:t>Bärendienst für den Datenschutz</a:t>
            </a:r>
            <a:endParaRPr lang="de-DE" sz="1200" b="0" i="0" u="none" strike="noStrike" kern="1200" baseline="0" dirty="0">
              <a:solidFill>
                <a:schemeClr val="tx1"/>
              </a:solidFill>
              <a:latin typeface="+mn-lt"/>
              <a:ea typeface="+mn-ea"/>
              <a:cs typeface="+mn-cs"/>
            </a:endParaRPr>
          </a:p>
          <a:p>
            <a:pPr marL="171450" indent="-171450">
              <a:buFontTx/>
              <a:buChar char="-"/>
            </a:pPr>
            <a:r>
              <a:rPr lang="de-DE" sz="1200" b="0" i="0" u="none" strike="noStrike" kern="1200" baseline="0" dirty="0">
                <a:solidFill>
                  <a:schemeClr val="tx1"/>
                </a:solidFill>
                <a:latin typeface="+mn-lt"/>
                <a:ea typeface="+mn-ea"/>
                <a:cs typeface="+mn-cs"/>
              </a:rPr>
              <a:t>Überdruss und Überfluss an Informationen führt zu </a:t>
            </a:r>
            <a:r>
              <a:rPr lang="de-DE" sz="1200" b="1" i="0" u="none" strike="noStrike" kern="1200" baseline="0" dirty="0">
                <a:solidFill>
                  <a:schemeClr val="tx1"/>
                </a:solidFill>
                <a:latin typeface="+mn-lt"/>
                <a:ea typeface="+mn-ea"/>
                <a:cs typeface="+mn-cs"/>
              </a:rPr>
              <a:t>Informationsermüdung</a:t>
            </a:r>
            <a:r>
              <a:rPr lang="de-DE" sz="1200" b="0" i="0" u="none" strike="noStrike" kern="1200" baseline="0" dirty="0">
                <a:solidFill>
                  <a:schemeClr val="tx1"/>
                </a:solidFill>
                <a:latin typeface="+mn-lt"/>
                <a:ea typeface="+mn-ea"/>
                <a:cs typeface="+mn-cs"/>
              </a:rPr>
              <a:t> (ähnlich bei den „Cookie-Bannern“)</a:t>
            </a:r>
          </a:p>
          <a:p>
            <a:pPr marL="171450" indent="-171450">
              <a:buFontTx/>
              <a:buChar char="-"/>
            </a:pPr>
            <a:r>
              <a:rPr lang="de-DE" sz="1200" b="0" i="0" u="none" strike="noStrike" kern="1200" baseline="0" dirty="0">
                <a:solidFill>
                  <a:schemeClr val="tx1"/>
                </a:solidFill>
                <a:latin typeface="+mn-lt"/>
                <a:ea typeface="+mn-ea"/>
                <a:cs typeface="+mn-cs"/>
              </a:rPr>
              <a:t>fragwürdig, ob Betroffenen mit „</a:t>
            </a:r>
            <a:r>
              <a:rPr lang="de-DE" sz="1200" b="1" i="0" u="none" strike="noStrike" kern="1200" baseline="0" dirty="0" err="1">
                <a:solidFill>
                  <a:schemeClr val="tx1"/>
                </a:solidFill>
                <a:latin typeface="+mn-lt"/>
                <a:ea typeface="+mn-ea"/>
                <a:cs typeface="+mn-cs"/>
              </a:rPr>
              <a:t>information</a:t>
            </a:r>
            <a:r>
              <a:rPr lang="de-DE" sz="1200" b="1" i="0" u="none" strike="noStrike" kern="1200" baseline="0" dirty="0">
                <a:solidFill>
                  <a:schemeClr val="tx1"/>
                </a:solidFill>
                <a:latin typeface="+mn-lt"/>
                <a:ea typeface="+mn-ea"/>
                <a:cs typeface="+mn-cs"/>
              </a:rPr>
              <a:t> </a:t>
            </a:r>
            <a:r>
              <a:rPr lang="de-DE" sz="1200" b="1" i="0" u="none" strike="noStrike" kern="1200" baseline="0" dirty="0" err="1">
                <a:solidFill>
                  <a:schemeClr val="tx1"/>
                </a:solidFill>
                <a:latin typeface="+mn-lt"/>
                <a:ea typeface="+mn-ea"/>
                <a:cs typeface="+mn-cs"/>
              </a:rPr>
              <a:t>overkill</a:t>
            </a:r>
            <a:r>
              <a:rPr lang="de-DE" sz="1200" b="0" i="0" u="none" strike="noStrike" kern="1200" baseline="0" dirty="0">
                <a:solidFill>
                  <a:schemeClr val="tx1"/>
                </a:solidFill>
                <a:latin typeface="+mn-lt"/>
                <a:ea typeface="+mn-ea"/>
                <a:cs typeface="+mn-cs"/>
              </a:rPr>
              <a:t>“ gedient ist oder ob dies der Transparenz aus Sicht des Betroffenen nicht eher schade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b="0" i="0" u="none" strike="noStrike" kern="1200" baseline="0" dirty="0">
                <a:solidFill>
                  <a:schemeClr val="tx1"/>
                </a:solidFill>
                <a:latin typeface="+mn-lt"/>
                <a:ea typeface="+mn-ea"/>
                <a:cs typeface="+mn-cs"/>
              </a:rPr>
              <a:t>Gebot leichter Zugänglichkeit nach Art. 12 Abs. 1 S. 1 DSGVO</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b="0" i="0" u="none" strike="noStrike" kern="1200" baseline="0" dirty="0">
                <a:solidFill>
                  <a:schemeClr val="tx1"/>
                </a:solidFill>
                <a:latin typeface="+mn-lt"/>
                <a:ea typeface="+mn-ea"/>
                <a:cs typeface="+mn-cs"/>
              </a:rPr>
              <a:t>Aufsichtsbehörden: so bereitzustellen, dass die betroffene Person sie bei Datenerhebung ohne Medienbruch bekomm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b="0" i="0" u="none" strike="noStrike" kern="1200" baseline="0" dirty="0">
                <a:solidFill>
                  <a:schemeClr val="tx1"/>
                </a:solidFill>
                <a:latin typeface="+mn-lt"/>
                <a:ea typeface="+mn-ea"/>
                <a:cs typeface="+mn-cs"/>
              </a:rPr>
              <a:t>Daten mit einem schriftlichen oder elektronischen Formular erhoben, müssen die Informationen grundsätzlich auf diesem Formular bereitgestellt werden</a:t>
            </a:r>
          </a:p>
          <a:p>
            <a:pPr marL="171450" indent="-171450">
              <a:buClr>
                <a:srgbClr val="4B93A9"/>
              </a:buClr>
              <a:buFontTx/>
              <a:buChar char="-"/>
            </a:pPr>
            <a:r>
              <a:rPr lang="de-DE" sz="1200" b="0" i="0" u="none" strike="noStrike" kern="1200" baseline="0" dirty="0">
                <a:solidFill>
                  <a:schemeClr val="tx1"/>
                </a:solidFill>
                <a:latin typeface="+mn-lt"/>
                <a:ea typeface="+mn-ea"/>
                <a:cs typeface="+mn-cs"/>
              </a:rPr>
              <a:t>Verbot des </a:t>
            </a:r>
            <a:r>
              <a:rPr lang="de-DE" sz="1200" b="0" i="0" u="none" strike="noStrike" kern="1200" baseline="0" dirty="0" err="1">
                <a:solidFill>
                  <a:schemeClr val="tx1"/>
                </a:solidFill>
                <a:latin typeface="+mn-lt"/>
                <a:ea typeface="+mn-ea"/>
                <a:cs typeface="+mn-cs"/>
              </a:rPr>
              <a:t>Mehrebenenansatzes</a:t>
            </a:r>
            <a:r>
              <a:rPr lang="de-DE" sz="1200" b="0" i="0" u="none" strike="noStrike" kern="1200" baseline="0" dirty="0">
                <a:solidFill>
                  <a:schemeClr val="tx1"/>
                </a:solidFill>
                <a:latin typeface="+mn-lt"/>
                <a:ea typeface="+mn-ea"/>
                <a:cs typeface="+mn-cs"/>
              </a:rPr>
              <a:t> oder des Medienbruchs ergibt sich nicht aus dem Wortlaut</a:t>
            </a:r>
          </a:p>
          <a:p>
            <a:pPr marL="171450" indent="-171450">
              <a:buClr>
                <a:srgbClr val="4B93A9"/>
              </a:buClr>
              <a:buFontTx/>
              <a:buChar char="-"/>
            </a:pPr>
            <a:r>
              <a:rPr lang="de-DE" sz="1200" b="0" i="0" u="none" strike="noStrike" kern="1200" baseline="0" dirty="0">
                <a:solidFill>
                  <a:schemeClr val="tx1"/>
                </a:solidFill>
                <a:latin typeface="+mn-lt"/>
                <a:ea typeface="+mn-ea"/>
                <a:cs typeface="+mn-cs"/>
              </a:rPr>
              <a:t>Mehrebenen-Ansatz beinhaltet, dass die Erteilung von Informationen zur Datenverarbeitung abgeschichtet und mittels verschiedener Medien erfolgen kann</a:t>
            </a:r>
          </a:p>
          <a:p>
            <a:pPr marL="171450" indent="-171450">
              <a:buClr>
                <a:srgbClr val="4B93A9"/>
              </a:buClr>
              <a:buFontTx/>
              <a:buChar char="-"/>
            </a:pPr>
            <a:r>
              <a:rPr lang="de-DE" sz="1200" b="0" i="0" u="none" strike="noStrike" kern="1200" baseline="0" dirty="0">
                <a:solidFill>
                  <a:schemeClr val="tx1"/>
                </a:solidFill>
                <a:latin typeface="+mn-lt"/>
                <a:ea typeface="+mn-ea"/>
                <a:cs typeface="+mn-cs"/>
              </a:rPr>
              <a:t>Art. 29 Gruppe WP 260: „ Eine Verwendung von Mehrebenen-Datenschutzerklärungen versetzt betroffene Personen in die Lage, zu einem bestimmten Teil der Datenschutzerklärungen zu navigieren, anstatt bei der Suche nach einzelnen Themen umfangreiche Texte durchkämmen zu müssen.“</a:t>
            </a:r>
          </a:p>
          <a:p>
            <a:pPr marL="171450" indent="-171450">
              <a:buClr>
                <a:srgbClr val="4B93A9"/>
              </a:buClr>
              <a:buFontTx/>
              <a:buChar char="-"/>
            </a:pPr>
            <a:r>
              <a:rPr lang="de-DE" sz="1200" b="0" i="0" u="none" strike="noStrike" kern="1200" baseline="0" dirty="0">
                <a:solidFill>
                  <a:schemeClr val="tx1"/>
                </a:solidFill>
                <a:latin typeface="+mn-lt"/>
                <a:ea typeface="+mn-ea"/>
                <a:cs typeface="+mn-cs"/>
              </a:rPr>
              <a:t>Vergleichbar Verbraucherschutzregelungen bei mobilem Zugriff</a:t>
            </a:r>
            <a:endParaRPr lang="de-DE" dirty="0"/>
          </a:p>
        </p:txBody>
      </p:sp>
      <p:sp>
        <p:nvSpPr>
          <p:cNvPr id="4" name="Foliennummernplatzhalter 3"/>
          <p:cNvSpPr>
            <a:spLocks noGrp="1"/>
          </p:cNvSpPr>
          <p:nvPr>
            <p:ph type="sldNum" sz="quarter" idx="5"/>
          </p:nvPr>
        </p:nvSpPr>
        <p:spPr/>
        <p:txBody>
          <a:bodyPr/>
          <a:lstStyle/>
          <a:p>
            <a:fld id="{6FD6C73A-A351-4718-90AA-9C40DC832E9F}" type="slidenum">
              <a:rPr lang="de-DE" smtClean="0"/>
              <a:t>3</a:t>
            </a:fld>
            <a:endParaRPr lang="de-DE" dirty="0"/>
          </a:p>
        </p:txBody>
      </p:sp>
    </p:spTree>
    <p:extLst>
      <p:ext uri="{BB962C8B-B14F-4D97-AF65-F5344CB8AC3E}">
        <p14:creationId xmlns:p14="http://schemas.microsoft.com/office/powerpoint/2010/main" val="41497147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sz="1200" b="0" i="0" kern="1200" dirty="0">
                <a:solidFill>
                  <a:schemeClr val="tx1"/>
                </a:solidFill>
                <a:effectLst/>
                <a:latin typeface="+mn-lt"/>
                <a:ea typeface="+mn-ea"/>
                <a:cs typeface="+mn-cs"/>
              </a:rPr>
              <a:t>Grundrechte müssen in ausgewogenes Verhältnis gebracht werden, und zwar so, dass der Wesensgehalt des jeweiligen Grundrechts geachtet wird.</a:t>
            </a:r>
          </a:p>
          <a:p>
            <a:pPr marL="171450" indent="-171450">
              <a:buFontTx/>
              <a:buChar char="-"/>
            </a:pPr>
            <a:r>
              <a:rPr lang="de-DE" sz="1200" b="0" i="0" kern="1200" dirty="0">
                <a:solidFill>
                  <a:schemeClr val="tx1"/>
                </a:solidFill>
                <a:effectLst/>
                <a:latin typeface="+mn-lt"/>
                <a:ea typeface="+mn-ea"/>
                <a:cs typeface="+mn-cs"/>
              </a:rPr>
              <a:t>Wesensgehalt von z.B. Grundrecht auf Freiheit der Meinungsäußerung und Informationsfreiheit (Art. 11 </a:t>
            </a:r>
            <a:r>
              <a:rPr lang="de-DE" sz="1200" b="0" i="0" kern="1200" dirty="0" err="1">
                <a:solidFill>
                  <a:schemeClr val="tx1"/>
                </a:solidFill>
                <a:effectLst/>
                <a:latin typeface="+mn-lt"/>
                <a:ea typeface="+mn-ea"/>
                <a:cs typeface="+mn-cs"/>
              </a:rPr>
              <a:t>GRCh</a:t>
            </a:r>
            <a:r>
              <a:rPr lang="de-DE" sz="1200" b="0" i="0" kern="1200" dirty="0">
                <a:solidFill>
                  <a:schemeClr val="tx1"/>
                </a:solidFill>
                <a:effectLst/>
                <a:latin typeface="+mn-lt"/>
                <a:ea typeface="+mn-ea"/>
                <a:cs typeface="+mn-cs"/>
              </a:rPr>
              <a:t>), Berufsfreiheit und Recht zu arbeiten (Art. 15 </a:t>
            </a:r>
            <a:r>
              <a:rPr lang="de-DE" sz="1200" b="0" i="0" kern="1200" dirty="0" err="1">
                <a:solidFill>
                  <a:schemeClr val="tx1"/>
                </a:solidFill>
                <a:effectLst/>
                <a:latin typeface="+mn-lt"/>
                <a:ea typeface="+mn-ea"/>
                <a:cs typeface="+mn-cs"/>
              </a:rPr>
              <a:t>GRCh</a:t>
            </a:r>
            <a:r>
              <a:rPr lang="de-DE" sz="1200" b="0" i="0" kern="1200" dirty="0">
                <a:solidFill>
                  <a:schemeClr val="tx1"/>
                </a:solidFill>
                <a:effectLst/>
                <a:latin typeface="+mn-lt"/>
                <a:ea typeface="+mn-ea"/>
                <a:cs typeface="+mn-cs"/>
              </a:rPr>
              <a:t>), unternehmerische Freiheit (Art. 16 </a:t>
            </a:r>
            <a:r>
              <a:rPr lang="de-DE" sz="1200" b="0" i="0" kern="1200" dirty="0" err="1">
                <a:solidFill>
                  <a:schemeClr val="tx1"/>
                </a:solidFill>
                <a:effectLst/>
                <a:latin typeface="+mn-lt"/>
                <a:ea typeface="+mn-ea"/>
                <a:cs typeface="+mn-cs"/>
              </a:rPr>
              <a:t>GRCh</a:t>
            </a:r>
            <a:r>
              <a:rPr lang="de-DE" sz="1200" b="0" i="0" kern="1200" dirty="0">
                <a:solidFill>
                  <a:schemeClr val="tx1"/>
                </a:solidFill>
                <a:effectLst/>
                <a:latin typeface="+mn-lt"/>
                <a:ea typeface="+mn-ea"/>
                <a:cs typeface="+mn-cs"/>
              </a:rPr>
              <a:t>) und Eigentumsrecht (Art. 17 </a:t>
            </a:r>
            <a:r>
              <a:rPr lang="de-DE" sz="1200" b="0" i="0" kern="1200" dirty="0" err="1">
                <a:solidFill>
                  <a:schemeClr val="tx1"/>
                </a:solidFill>
                <a:effectLst/>
                <a:latin typeface="+mn-lt"/>
                <a:ea typeface="+mn-ea"/>
                <a:cs typeface="+mn-cs"/>
              </a:rPr>
              <a:t>GRCh</a:t>
            </a:r>
            <a:r>
              <a:rPr lang="de-DE" sz="1200" b="0" i="0" kern="1200" dirty="0">
                <a:solidFill>
                  <a:schemeClr val="tx1"/>
                </a:solidFill>
                <a:effectLst/>
                <a:latin typeface="+mn-lt"/>
                <a:ea typeface="+mn-ea"/>
                <a:cs typeface="+mn-cs"/>
              </a:rPr>
              <a:t>) darf nicht verletzt werden</a:t>
            </a:r>
          </a:p>
          <a:p>
            <a:pPr marL="171450" indent="-171450">
              <a:buFontTx/>
              <a:buChar char="-"/>
            </a:pPr>
            <a:r>
              <a:rPr lang="de-DE" sz="1200" b="0" i="0" kern="1200" dirty="0">
                <a:solidFill>
                  <a:schemeClr val="tx1"/>
                </a:solidFill>
                <a:effectLst/>
                <a:latin typeface="+mn-lt"/>
                <a:ea typeface="+mn-ea"/>
                <a:cs typeface="+mn-cs"/>
              </a:rPr>
              <a:t>Informationspflicht des Art. 13 kennt keine Ausnahmen</a:t>
            </a:r>
          </a:p>
          <a:p>
            <a:pPr marL="171450" indent="-171450">
              <a:buFontTx/>
              <a:buChar char="-"/>
            </a:pPr>
            <a:r>
              <a:rPr lang="de-DE" sz="1200" b="0" i="0" kern="1200" dirty="0">
                <a:solidFill>
                  <a:schemeClr val="tx1"/>
                </a:solidFill>
                <a:effectLst/>
                <a:latin typeface="+mn-lt"/>
                <a:ea typeface="+mn-ea"/>
                <a:cs typeface="+mn-cs"/>
              </a:rPr>
              <a:t>geht eindeutig zulasten der Rechte des Verantwortlichen und der Rechte Dritter</a:t>
            </a:r>
          </a:p>
          <a:p>
            <a:pPr marL="171450" indent="-171450">
              <a:buFontTx/>
              <a:buChar char="-"/>
            </a:pPr>
            <a:r>
              <a:rPr lang="de-DE" sz="1200" b="0" i="0" kern="1200" dirty="0">
                <a:solidFill>
                  <a:schemeClr val="tx1"/>
                </a:solidFill>
                <a:effectLst/>
                <a:latin typeface="+mn-lt"/>
                <a:ea typeface="+mn-ea"/>
                <a:cs typeface="+mn-cs"/>
              </a:rPr>
              <a:t>Overkill bei Auslegung, dass Art. 13/14 (2) stets verpflichtend sein sollen (m.E. falsch). </a:t>
            </a:r>
          </a:p>
          <a:p>
            <a:pPr marL="171450" indent="-171450">
              <a:buFontTx/>
              <a:buChar char="-"/>
            </a:pPr>
            <a:r>
              <a:rPr lang="de-DE" sz="1200" b="0" i="0" kern="1200" dirty="0">
                <a:solidFill>
                  <a:schemeClr val="tx1"/>
                </a:solidFill>
                <a:effectLst/>
                <a:latin typeface="+mn-lt"/>
                <a:ea typeface="+mn-ea"/>
                <a:cs typeface="+mn-cs"/>
              </a:rPr>
              <a:t>Regelung wird zu einem erheblichen einmaligen und regelmäßigen bürokratischen Mehraufwand führen</a:t>
            </a:r>
          </a:p>
          <a:p>
            <a:pPr marL="171450" indent="-171450">
              <a:buFontTx/>
              <a:buChar char="-"/>
            </a:pPr>
            <a:r>
              <a:rPr lang="de-DE" sz="1200" b="0" i="0" kern="1200" dirty="0">
                <a:solidFill>
                  <a:schemeClr val="tx1"/>
                </a:solidFill>
                <a:effectLst/>
                <a:latin typeface="+mn-lt"/>
                <a:ea typeface="+mn-ea"/>
                <a:cs typeface="+mn-cs"/>
              </a:rPr>
              <a:t>für viele Fälle (z.B. im E-Commerce) höchst fraglich, ob die Informationspflichten überhaupt praxisgerecht erfüllt werden können</a:t>
            </a:r>
          </a:p>
        </p:txBody>
      </p:sp>
      <p:sp>
        <p:nvSpPr>
          <p:cNvPr id="4" name="Foliennummernplatzhalter 3"/>
          <p:cNvSpPr>
            <a:spLocks noGrp="1"/>
          </p:cNvSpPr>
          <p:nvPr>
            <p:ph type="sldNum" sz="quarter" idx="5"/>
          </p:nvPr>
        </p:nvSpPr>
        <p:spPr/>
        <p:txBody>
          <a:bodyPr/>
          <a:lstStyle/>
          <a:p>
            <a:fld id="{6FD6C73A-A351-4718-90AA-9C40DC832E9F}" type="slidenum">
              <a:rPr lang="de-DE" smtClean="0"/>
              <a:t>4</a:t>
            </a:fld>
            <a:endParaRPr lang="de-DE" dirty="0"/>
          </a:p>
        </p:txBody>
      </p:sp>
    </p:spTree>
    <p:extLst>
      <p:ext uri="{BB962C8B-B14F-4D97-AF65-F5344CB8AC3E}">
        <p14:creationId xmlns:p14="http://schemas.microsoft.com/office/powerpoint/2010/main" val="10659290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FD6C73A-A351-4718-90AA-9C40DC832E9F}" type="slidenum">
              <a:rPr lang="de-DE" smtClean="0"/>
              <a:t>5</a:t>
            </a:fld>
            <a:endParaRPr lang="de-DE" dirty="0"/>
          </a:p>
        </p:txBody>
      </p:sp>
    </p:spTree>
    <p:extLst>
      <p:ext uri="{BB962C8B-B14F-4D97-AF65-F5344CB8AC3E}">
        <p14:creationId xmlns:p14="http://schemas.microsoft.com/office/powerpoint/2010/main" val="18244595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Clr>
                <a:srgbClr val="4B93A9"/>
              </a:buClr>
              <a:buFontTx/>
              <a:buChar char="-"/>
            </a:pPr>
            <a:r>
              <a:rPr lang="de-DE" sz="1200" dirty="0"/>
              <a:t>ungeachtet der Bezeichnung oder des Willens bzw. der Selbstwahrnehmung der beteiligten Akteure um eine fehlerhafte Auftragsverarbeitung, sobald die Bestimmung über Zwecke und Mittel der konkreten Verarbeitungen nicht hinreichend von den Verantwortlichen bzw. Auftraggebern getroffen wird</a:t>
            </a:r>
          </a:p>
          <a:p>
            <a:pPr marL="171450" indent="-171450">
              <a:buClr>
                <a:srgbClr val="4B93A9"/>
              </a:buClr>
              <a:buFontTx/>
              <a:buChar char="-"/>
            </a:pPr>
            <a:r>
              <a:rPr lang="de-DE" sz="1200" dirty="0"/>
              <a:t>Datenschutzkonferenz vertritt die Auffassung, dass IT-Wartungsverträge den Anforderungen des Artikel 28 DSGVO genügen müssen (https://www.lda.bayern.de/media/dsk_kpnr_13_auftragsverarbeitung.pdf) </a:t>
            </a:r>
          </a:p>
          <a:p>
            <a:endParaRPr lang="de-DE" dirty="0"/>
          </a:p>
        </p:txBody>
      </p:sp>
      <p:sp>
        <p:nvSpPr>
          <p:cNvPr id="4" name="Foliennummernplatzhalter 3"/>
          <p:cNvSpPr>
            <a:spLocks noGrp="1"/>
          </p:cNvSpPr>
          <p:nvPr>
            <p:ph type="sldNum" sz="quarter" idx="5"/>
          </p:nvPr>
        </p:nvSpPr>
        <p:spPr/>
        <p:txBody>
          <a:bodyPr/>
          <a:lstStyle/>
          <a:p>
            <a:fld id="{6FD6C73A-A351-4718-90AA-9C40DC832E9F}" type="slidenum">
              <a:rPr lang="de-DE" smtClean="0"/>
              <a:t>6</a:t>
            </a:fld>
            <a:endParaRPr lang="de-DE" dirty="0"/>
          </a:p>
        </p:txBody>
      </p:sp>
    </p:spTree>
    <p:extLst>
      <p:ext uri="{BB962C8B-B14F-4D97-AF65-F5344CB8AC3E}">
        <p14:creationId xmlns:p14="http://schemas.microsoft.com/office/powerpoint/2010/main" val="1356257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dirty="0"/>
              <a:t>Bisher kaum praktische Bedeutu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dirty="0"/>
              <a:t>offensichtlich auch bei Müttern und Vätern der DSGVO nicht weiter beachte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dirty="0"/>
              <a:t>EuGH Urteile zu Facebook-Fanpages und Zeugen Jehova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dirty="0"/>
              <a:t>Muster des LfDI BW</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dirty="0"/>
              <a:t>Bereits jetzt ist festzustellen, dass in vielen Konzernen vorsorglich Datenschutzvereinbarungen abgeschlossen werden, die zumindest formal den Anforderungen des Art. 26 DS-GVO genügen sollen</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t>bürokratische Aufwand ist erheblich</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t>Mehrwert für die von der Datenverarbeitung betroffenen Personen dagegen eher nich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sz="1200" dirty="0"/>
          </a:p>
          <a:p>
            <a:endParaRPr lang="de-DE" dirty="0"/>
          </a:p>
        </p:txBody>
      </p:sp>
      <p:sp>
        <p:nvSpPr>
          <p:cNvPr id="4" name="Foliennummernplatzhalter 3"/>
          <p:cNvSpPr>
            <a:spLocks noGrp="1"/>
          </p:cNvSpPr>
          <p:nvPr>
            <p:ph type="sldNum" sz="quarter" idx="5"/>
          </p:nvPr>
        </p:nvSpPr>
        <p:spPr/>
        <p:txBody>
          <a:bodyPr/>
          <a:lstStyle/>
          <a:p>
            <a:fld id="{6FD6C73A-A351-4718-90AA-9C40DC832E9F}" type="slidenum">
              <a:rPr lang="de-DE" smtClean="0"/>
              <a:t>7</a:t>
            </a:fld>
            <a:endParaRPr lang="de-DE" dirty="0"/>
          </a:p>
        </p:txBody>
      </p:sp>
    </p:spTree>
    <p:extLst>
      <p:ext uri="{BB962C8B-B14F-4D97-AF65-F5344CB8AC3E}">
        <p14:creationId xmlns:p14="http://schemas.microsoft.com/office/powerpoint/2010/main" val="7055046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FD6C73A-A351-4718-90AA-9C40DC832E9F}" type="slidenum">
              <a:rPr lang="de-DE" smtClean="0"/>
              <a:t>8</a:t>
            </a:fld>
            <a:endParaRPr lang="de-DE" dirty="0"/>
          </a:p>
        </p:txBody>
      </p:sp>
    </p:spTree>
    <p:extLst>
      <p:ext uri="{BB962C8B-B14F-4D97-AF65-F5344CB8AC3E}">
        <p14:creationId xmlns:p14="http://schemas.microsoft.com/office/powerpoint/2010/main" val="2339419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7" name="Grafik 6" descr="Ein Bild, das Computer, Gebäude enthält.&#10;&#10;Automatisch generierte Beschreibung">
            <a:extLst>
              <a:ext uri="{FF2B5EF4-FFF2-40B4-BE49-F238E27FC236}">
                <a16:creationId xmlns:a16="http://schemas.microsoft.com/office/drawing/2014/main" id="{CB2BAEE0-EA67-40C1-9B24-9944B072958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413" cy="4786865"/>
          </a:xfrm>
          <a:prstGeom prst="rect">
            <a:avLst/>
          </a:prstGeom>
        </p:spPr>
      </p:pic>
      <p:sp>
        <p:nvSpPr>
          <p:cNvPr id="2" name="Titel 1"/>
          <p:cNvSpPr>
            <a:spLocks noGrp="1"/>
          </p:cNvSpPr>
          <p:nvPr>
            <p:ph type="ctrTitle"/>
          </p:nvPr>
        </p:nvSpPr>
        <p:spPr>
          <a:xfrm>
            <a:off x="2206774" y="5226770"/>
            <a:ext cx="6192688" cy="938534"/>
          </a:xfrm>
          <a:prstGeom prst="rect">
            <a:avLst/>
          </a:prstGeom>
        </p:spPr>
        <p:txBody>
          <a:bodyPr/>
          <a:lstStyle>
            <a:lvl1pPr>
              <a:lnSpc>
                <a:spcPts val="3600"/>
              </a:lnSpc>
              <a:defRPr sz="3600">
                <a:solidFill>
                  <a:srgbClr val="4B93A9"/>
                </a:solidFill>
              </a:defRPr>
            </a:lvl1pPr>
          </a:lstStyle>
          <a:p>
            <a:r>
              <a:rPr lang="de-DE" dirty="0"/>
              <a:t>Mastertitelformat bearbeiten</a:t>
            </a:r>
          </a:p>
        </p:txBody>
      </p:sp>
      <p:sp>
        <p:nvSpPr>
          <p:cNvPr id="9" name="Textplatzhalter 8"/>
          <p:cNvSpPr>
            <a:spLocks noGrp="1"/>
          </p:cNvSpPr>
          <p:nvPr>
            <p:ph type="body" sz="quarter" idx="10" hasCustomPrompt="1"/>
          </p:nvPr>
        </p:nvSpPr>
        <p:spPr>
          <a:xfrm>
            <a:off x="2207939" y="6238007"/>
            <a:ext cx="7559675" cy="287337"/>
          </a:xfrm>
          <a:prstGeom prst="rect">
            <a:avLst/>
          </a:prstGeom>
        </p:spPr>
        <p:txBody>
          <a:bodyPr/>
          <a:lstStyle>
            <a:lvl1pPr marL="0" indent="0">
              <a:lnSpc>
                <a:spcPts val="2000"/>
              </a:lnSpc>
              <a:buNone/>
              <a:defRPr sz="1600"/>
            </a:lvl1pPr>
            <a:lvl2pPr marL="361950" indent="0">
              <a:buNone/>
              <a:defRPr sz="1750"/>
            </a:lvl2pPr>
            <a:lvl3pPr marL="714375" indent="0">
              <a:buNone/>
              <a:defRPr sz="1750"/>
            </a:lvl3pPr>
            <a:lvl4pPr marL="990600" indent="0">
              <a:buNone/>
              <a:defRPr sz="1750"/>
            </a:lvl4pPr>
            <a:lvl5pPr marL="1828800" indent="0">
              <a:buNone/>
              <a:defRPr sz="1750"/>
            </a:lvl5pPr>
          </a:lstStyle>
          <a:p>
            <a:pPr lvl="0"/>
            <a:r>
              <a:rPr lang="de-DE" dirty="0"/>
              <a:t>Vorname Nachname | Titel</a:t>
            </a:r>
          </a:p>
        </p:txBody>
      </p:sp>
      <p:sp>
        <p:nvSpPr>
          <p:cNvPr id="3" name="Datumsplatzhalter 2"/>
          <p:cNvSpPr>
            <a:spLocks noGrp="1"/>
          </p:cNvSpPr>
          <p:nvPr>
            <p:ph type="dt" sz="half" idx="12"/>
          </p:nvPr>
        </p:nvSpPr>
        <p:spPr/>
        <p:txBody>
          <a:bodyPr/>
          <a:lstStyle/>
          <a:p>
            <a:fld id="{E98B9C39-4E75-4334-AD4B-941B6E5468CC}" type="datetime1">
              <a:rPr lang="de-DE" smtClean="0"/>
              <a:t>27.06.2019</a:t>
            </a:fld>
            <a:endParaRPr lang="de-DE" dirty="0"/>
          </a:p>
        </p:txBody>
      </p:sp>
      <p:sp>
        <p:nvSpPr>
          <p:cNvPr id="4" name="Fußzeilenplatzhalter 3"/>
          <p:cNvSpPr>
            <a:spLocks noGrp="1"/>
          </p:cNvSpPr>
          <p:nvPr>
            <p:ph type="ftr" sz="quarter" idx="13"/>
          </p:nvPr>
        </p:nvSpPr>
        <p:spPr/>
        <p:txBody>
          <a:bodyPr/>
          <a:lstStyle>
            <a:lvl1pPr>
              <a:defRPr/>
            </a:lvl1pPr>
          </a:lstStyle>
          <a:p>
            <a:r>
              <a:rPr lang="de-DE" dirty="0"/>
              <a:t> © RA Stephan Schmidt | TCI Rechtsanwälte 2019</a:t>
            </a:r>
          </a:p>
        </p:txBody>
      </p:sp>
      <p:sp>
        <p:nvSpPr>
          <p:cNvPr id="5" name="Foliennummernplatzhalter 4"/>
          <p:cNvSpPr>
            <a:spLocks noGrp="1"/>
          </p:cNvSpPr>
          <p:nvPr>
            <p:ph type="sldNum" sz="quarter" idx="14"/>
          </p:nvPr>
        </p:nvSpPr>
        <p:spPr/>
        <p:txBody>
          <a:bodyPr/>
          <a:lstStyle/>
          <a:p>
            <a:fld id="{2B4A8978-7379-4EE5-A30C-C3165A133675}" type="slidenum">
              <a:rPr lang="de-DE" smtClean="0"/>
              <a:pPr/>
              <a:t>‹Nr.›</a:t>
            </a:fld>
            <a:endParaRPr lang="de-DE" dirty="0"/>
          </a:p>
        </p:txBody>
      </p:sp>
      <p:pic>
        <p:nvPicPr>
          <p:cNvPr id="15" name="Picture 2" descr="https://lh5.googleusercontent.com/-QRMHLQ2c3bU/T4rHlRxXshI/AAAAAAAHStY/8N2jk6DWnw8/w943-h793-no/TCI+Rechtsanw%25C3%25A4lte">
            <a:extLst>
              <a:ext uri="{FF2B5EF4-FFF2-40B4-BE49-F238E27FC236}">
                <a16:creationId xmlns:a16="http://schemas.microsoft.com/office/drawing/2014/main" id="{41EC6085-213F-4F98-8D2C-6DA3B89451F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21773" y="5033367"/>
            <a:ext cx="1879756" cy="1581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48041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Bilder schmal">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622598" y="5432102"/>
            <a:ext cx="5311427" cy="229146"/>
          </a:xfrm>
          <a:prstGeom prst="rect">
            <a:avLst/>
          </a:prstGeom>
        </p:spPr>
        <p:txBody>
          <a:bodyPr/>
          <a:lstStyle>
            <a:lvl1pPr marL="0" indent="0">
              <a:lnSpc>
                <a:spcPts val="1700"/>
              </a:lnSpc>
              <a:buNone/>
              <a:defRPr sz="1300">
                <a:solidFill>
                  <a:schemeClr val="tx2"/>
                </a:solidFill>
              </a:defRPr>
            </a:lvl1pPr>
          </a:lstStyle>
          <a:p>
            <a:pPr lvl="0"/>
            <a:r>
              <a:rPr lang="de-DE" dirty="0"/>
              <a:t>Bildunterschrift</a:t>
            </a:r>
          </a:p>
        </p:txBody>
      </p:sp>
      <p:sp>
        <p:nvSpPr>
          <p:cNvPr id="9" name="Bildplatzhalter 8"/>
          <p:cNvSpPr>
            <a:spLocks noGrp="1"/>
          </p:cNvSpPr>
          <p:nvPr>
            <p:ph type="pic" sz="quarter" idx="14" hasCustomPrompt="1"/>
          </p:nvPr>
        </p:nvSpPr>
        <p:spPr>
          <a:xfrm>
            <a:off x="622598" y="2074830"/>
            <a:ext cx="5311428" cy="3240000"/>
          </a:xfrm>
          <a:prstGeom prst="rect">
            <a:avLst/>
          </a:prstGeom>
          <a:solidFill>
            <a:schemeClr val="bg1">
              <a:lumMod val="65000"/>
            </a:schemeClr>
          </a:solidFill>
        </p:spPr>
        <p:txBody>
          <a:bodyPr anchor="ctr" anchorCtr="0"/>
          <a:lstStyle>
            <a:lvl1pPr marL="0" indent="0" algn="ctr">
              <a:lnSpc>
                <a:spcPct val="100000"/>
              </a:lnSpc>
              <a:buNone/>
              <a:defRPr sz="1750"/>
            </a:lvl1pPr>
          </a:lstStyle>
          <a:p>
            <a:r>
              <a:rPr lang="de-DE" dirty="0"/>
              <a:t>Bild auf Platzhalter ziehen </a:t>
            </a:r>
            <a:br>
              <a:rPr lang="de-DE" dirty="0"/>
            </a:br>
            <a:r>
              <a:rPr lang="de-DE" dirty="0"/>
              <a:t>oder durch Klicken auf das Symbol hinzufügen </a:t>
            </a:r>
          </a:p>
        </p:txBody>
      </p:sp>
      <p:sp>
        <p:nvSpPr>
          <p:cNvPr id="10" name="Inhaltsplatzhalter 2"/>
          <p:cNvSpPr>
            <a:spLocks noGrp="1"/>
          </p:cNvSpPr>
          <p:nvPr>
            <p:ph idx="15" hasCustomPrompt="1"/>
          </p:nvPr>
        </p:nvSpPr>
        <p:spPr>
          <a:xfrm>
            <a:off x="6251761" y="5432102"/>
            <a:ext cx="5304551" cy="229146"/>
          </a:xfrm>
          <a:prstGeom prst="rect">
            <a:avLst/>
          </a:prstGeom>
        </p:spPr>
        <p:txBody>
          <a:bodyPr/>
          <a:lstStyle>
            <a:lvl1pPr marL="0" indent="0">
              <a:lnSpc>
                <a:spcPts val="1700"/>
              </a:lnSpc>
              <a:buNone/>
              <a:defRPr sz="1300">
                <a:solidFill>
                  <a:schemeClr val="tx2"/>
                </a:solidFill>
              </a:defRPr>
            </a:lvl1pPr>
          </a:lstStyle>
          <a:p>
            <a:pPr lvl="0"/>
            <a:r>
              <a:rPr lang="de-DE" dirty="0"/>
              <a:t>Bildunterschrift</a:t>
            </a:r>
          </a:p>
        </p:txBody>
      </p:sp>
      <p:sp>
        <p:nvSpPr>
          <p:cNvPr id="11" name="Bildplatzhalter 8"/>
          <p:cNvSpPr>
            <a:spLocks noGrp="1"/>
          </p:cNvSpPr>
          <p:nvPr>
            <p:ph type="pic" sz="quarter" idx="16" hasCustomPrompt="1"/>
          </p:nvPr>
        </p:nvSpPr>
        <p:spPr>
          <a:xfrm>
            <a:off x="6251761" y="2074830"/>
            <a:ext cx="5311428" cy="3240000"/>
          </a:xfrm>
          <a:prstGeom prst="rect">
            <a:avLst/>
          </a:prstGeom>
          <a:solidFill>
            <a:schemeClr val="bg1">
              <a:lumMod val="65000"/>
            </a:schemeClr>
          </a:solidFill>
        </p:spPr>
        <p:txBody>
          <a:bodyPr anchor="ctr" anchorCtr="0"/>
          <a:lstStyle>
            <a:lvl1pPr marL="0" indent="0" algn="ctr">
              <a:lnSpc>
                <a:spcPct val="100000"/>
              </a:lnSpc>
              <a:buNone/>
              <a:defRPr sz="1750"/>
            </a:lvl1pPr>
          </a:lstStyle>
          <a:p>
            <a:r>
              <a:rPr lang="de-DE" dirty="0"/>
              <a:t>Bild auf Platzhalter ziehen </a:t>
            </a:r>
            <a:br>
              <a:rPr lang="de-DE" dirty="0"/>
            </a:br>
            <a:r>
              <a:rPr lang="de-DE" dirty="0"/>
              <a:t>oder durch Klicken auf das Symbol hinzufügen </a:t>
            </a:r>
          </a:p>
        </p:txBody>
      </p:sp>
      <p:sp>
        <p:nvSpPr>
          <p:cNvPr id="12" name="Rechteck 11"/>
          <p:cNvSpPr/>
          <p:nvPr userDrawn="1"/>
        </p:nvSpPr>
        <p:spPr>
          <a:xfrm>
            <a:off x="10919742" y="6381328"/>
            <a:ext cx="936104"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Titel 1"/>
          <p:cNvSpPr>
            <a:spLocks noGrp="1"/>
          </p:cNvSpPr>
          <p:nvPr>
            <p:ph type="title"/>
          </p:nvPr>
        </p:nvSpPr>
        <p:spPr>
          <a:xfrm>
            <a:off x="622598" y="180000"/>
            <a:ext cx="9926102" cy="562074"/>
          </a:xfrm>
          <a:prstGeom prst="rect">
            <a:avLst/>
          </a:prstGeom>
        </p:spPr>
        <p:txBody>
          <a:bodyPr/>
          <a:lstStyle>
            <a:lvl1pPr>
              <a:defRPr sz="3600">
                <a:solidFill>
                  <a:srgbClr val="4B93A9"/>
                </a:solidFill>
              </a:defRPr>
            </a:lvl1pPr>
          </a:lstStyle>
          <a:p>
            <a:r>
              <a:rPr lang="de-DE" dirty="0"/>
              <a:t>Mastertitelformat bearbeiten</a:t>
            </a:r>
          </a:p>
        </p:txBody>
      </p:sp>
      <p:sp>
        <p:nvSpPr>
          <p:cNvPr id="15" name="Textplatzhalter 7"/>
          <p:cNvSpPr>
            <a:spLocks noGrp="1"/>
          </p:cNvSpPr>
          <p:nvPr>
            <p:ph type="body" sz="quarter" idx="13" hasCustomPrompt="1"/>
          </p:nvPr>
        </p:nvSpPr>
        <p:spPr>
          <a:xfrm>
            <a:off x="622598" y="692696"/>
            <a:ext cx="9919939" cy="360363"/>
          </a:xfrm>
          <a:prstGeom prst="rect">
            <a:avLst/>
          </a:prstGeom>
        </p:spPr>
        <p:txBody>
          <a:bodyPr/>
          <a:lstStyle>
            <a:lvl1pPr marL="0" indent="0">
              <a:lnSpc>
                <a:spcPts val="2400"/>
              </a:lnSpc>
              <a:buNone/>
              <a:defRPr sz="1800"/>
            </a:lvl1pPr>
            <a:lvl2pPr marL="361950" indent="0">
              <a:lnSpc>
                <a:spcPts val="2400"/>
              </a:lnSpc>
              <a:buNone/>
              <a:defRPr sz="1750"/>
            </a:lvl2pPr>
            <a:lvl3pPr marL="714375" indent="0">
              <a:lnSpc>
                <a:spcPts val="2400"/>
              </a:lnSpc>
              <a:buNone/>
              <a:defRPr sz="1750"/>
            </a:lvl3pPr>
            <a:lvl4pPr marL="990600" indent="0">
              <a:lnSpc>
                <a:spcPts val="2400"/>
              </a:lnSpc>
              <a:buNone/>
              <a:defRPr sz="1750"/>
            </a:lvl4pPr>
            <a:lvl5pPr marL="1828800" indent="0">
              <a:lnSpc>
                <a:spcPts val="2400"/>
              </a:lnSpc>
              <a:buNone/>
              <a:defRPr sz="1750"/>
            </a:lvl5pPr>
          </a:lstStyle>
          <a:p>
            <a:pPr lvl="0"/>
            <a:r>
              <a:rPr lang="de-DE" dirty="0" err="1"/>
              <a:t>Subline</a:t>
            </a:r>
            <a:endParaRPr lang="de-DE" dirty="0"/>
          </a:p>
        </p:txBody>
      </p:sp>
      <p:sp>
        <p:nvSpPr>
          <p:cNvPr id="2" name="Datumsplatzhalter 1"/>
          <p:cNvSpPr>
            <a:spLocks noGrp="1"/>
          </p:cNvSpPr>
          <p:nvPr>
            <p:ph type="dt" sz="half" idx="17"/>
          </p:nvPr>
        </p:nvSpPr>
        <p:spPr/>
        <p:txBody>
          <a:bodyPr/>
          <a:lstStyle/>
          <a:p>
            <a:fld id="{9E0249CA-8C0E-4C22-813A-846DDC802DD1}" type="datetime1">
              <a:rPr lang="de-DE" smtClean="0"/>
              <a:t>27.06.2019</a:t>
            </a:fld>
            <a:endParaRPr lang="de-DE" dirty="0"/>
          </a:p>
        </p:txBody>
      </p:sp>
      <p:sp>
        <p:nvSpPr>
          <p:cNvPr id="4" name="Fußzeilenplatzhalter 3"/>
          <p:cNvSpPr>
            <a:spLocks noGrp="1"/>
          </p:cNvSpPr>
          <p:nvPr>
            <p:ph type="ftr" sz="quarter" idx="18"/>
          </p:nvPr>
        </p:nvSpPr>
        <p:spPr/>
        <p:txBody>
          <a:bodyPr/>
          <a:lstStyle>
            <a:lvl1pPr>
              <a:defRPr/>
            </a:lvl1pPr>
          </a:lstStyle>
          <a:p>
            <a:r>
              <a:rPr lang="de-DE" dirty="0"/>
              <a:t> © RA Stephan Schmidt | TCI Rechtsanwälte 2019</a:t>
            </a:r>
          </a:p>
        </p:txBody>
      </p:sp>
      <p:sp>
        <p:nvSpPr>
          <p:cNvPr id="5" name="Foliennummernplatzhalter 4"/>
          <p:cNvSpPr>
            <a:spLocks noGrp="1"/>
          </p:cNvSpPr>
          <p:nvPr>
            <p:ph type="sldNum" sz="quarter" idx="19"/>
          </p:nvPr>
        </p:nvSpPr>
        <p:spPr/>
        <p:txBody>
          <a:bodyPr/>
          <a:lstStyle/>
          <a:p>
            <a:fld id="{2B4A8978-7379-4EE5-A30C-C3165A133675}" type="slidenum">
              <a:rPr lang="de-DE" smtClean="0"/>
              <a:pPr/>
              <a:t>‹Nr.›</a:t>
            </a:fld>
            <a:endParaRPr lang="de-DE" dirty="0"/>
          </a:p>
        </p:txBody>
      </p:sp>
      <p:pic>
        <p:nvPicPr>
          <p:cNvPr id="14" name="Picture 2" descr="https://lh5.googleusercontent.com/-QRMHLQ2c3bU/T4rHlRxXshI/AAAAAAAHStY/8N2jk6DWnw8/w943-h793-no/TCI+Rechtsanw%25C3%25A4lte">
            <a:extLst>
              <a:ext uri="{FF2B5EF4-FFF2-40B4-BE49-F238E27FC236}">
                <a16:creationId xmlns:a16="http://schemas.microsoft.com/office/drawing/2014/main" id="{A9DBD25A-ADAD-4F66-AAF4-967C72FAEC9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76993" y="204783"/>
            <a:ext cx="10414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61565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agramm Platzhalter">
    <p:spTree>
      <p:nvGrpSpPr>
        <p:cNvPr id="1" name=""/>
        <p:cNvGrpSpPr/>
        <p:nvPr/>
      </p:nvGrpSpPr>
      <p:grpSpPr>
        <a:xfrm>
          <a:off x="0" y="0"/>
          <a:ext cx="0" cy="0"/>
          <a:chOff x="0" y="0"/>
          <a:chExt cx="0" cy="0"/>
        </a:xfrm>
      </p:grpSpPr>
      <p:sp>
        <p:nvSpPr>
          <p:cNvPr id="7" name="Titel 1"/>
          <p:cNvSpPr>
            <a:spLocks noGrp="1"/>
          </p:cNvSpPr>
          <p:nvPr>
            <p:ph type="title"/>
          </p:nvPr>
        </p:nvSpPr>
        <p:spPr>
          <a:xfrm>
            <a:off x="622598" y="180000"/>
            <a:ext cx="9926102" cy="562074"/>
          </a:xfrm>
          <a:prstGeom prst="rect">
            <a:avLst/>
          </a:prstGeom>
        </p:spPr>
        <p:txBody>
          <a:bodyPr/>
          <a:lstStyle>
            <a:lvl1pPr>
              <a:defRPr sz="3600">
                <a:solidFill>
                  <a:srgbClr val="4B93A9"/>
                </a:solidFill>
              </a:defRPr>
            </a:lvl1pPr>
          </a:lstStyle>
          <a:p>
            <a:r>
              <a:rPr lang="de-DE" dirty="0"/>
              <a:t>Mastertitelformat bearbeiten</a:t>
            </a:r>
          </a:p>
        </p:txBody>
      </p:sp>
      <p:sp>
        <p:nvSpPr>
          <p:cNvPr id="13" name="Textplatzhalter 7"/>
          <p:cNvSpPr>
            <a:spLocks noGrp="1"/>
          </p:cNvSpPr>
          <p:nvPr>
            <p:ph type="body" sz="quarter" idx="13" hasCustomPrompt="1"/>
          </p:nvPr>
        </p:nvSpPr>
        <p:spPr>
          <a:xfrm>
            <a:off x="622598" y="692696"/>
            <a:ext cx="9919939" cy="360363"/>
          </a:xfrm>
          <a:prstGeom prst="rect">
            <a:avLst/>
          </a:prstGeom>
        </p:spPr>
        <p:txBody>
          <a:bodyPr/>
          <a:lstStyle>
            <a:lvl1pPr marL="0" indent="0">
              <a:lnSpc>
                <a:spcPts val="2400"/>
              </a:lnSpc>
              <a:buNone/>
              <a:defRPr sz="1800"/>
            </a:lvl1pPr>
            <a:lvl2pPr marL="361950" indent="0">
              <a:lnSpc>
                <a:spcPts val="2400"/>
              </a:lnSpc>
              <a:buNone/>
              <a:defRPr sz="1750"/>
            </a:lvl2pPr>
            <a:lvl3pPr marL="714375" indent="0">
              <a:lnSpc>
                <a:spcPts val="2400"/>
              </a:lnSpc>
              <a:buNone/>
              <a:defRPr sz="1750"/>
            </a:lvl3pPr>
            <a:lvl4pPr marL="990600" indent="0">
              <a:lnSpc>
                <a:spcPts val="2400"/>
              </a:lnSpc>
              <a:buNone/>
              <a:defRPr sz="1750"/>
            </a:lvl4pPr>
            <a:lvl5pPr marL="1828800" indent="0">
              <a:lnSpc>
                <a:spcPts val="2400"/>
              </a:lnSpc>
              <a:buNone/>
              <a:defRPr sz="1750"/>
            </a:lvl5pPr>
          </a:lstStyle>
          <a:p>
            <a:pPr lvl="0"/>
            <a:r>
              <a:rPr lang="de-DE" dirty="0" err="1"/>
              <a:t>Subline</a:t>
            </a:r>
            <a:endParaRPr lang="de-DE" dirty="0"/>
          </a:p>
        </p:txBody>
      </p:sp>
      <p:sp>
        <p:nvSpPr>
          <p:cNvPr id="3" name="Diagrammplatzhalter 2"/>
          <p:cNvSpPr>
            <a:spLocks noGrp="1"/>
          </p:cNvSpPr>
          <p:nvPr>
            <p:ph type="chart" sz="quarter" idx="14"/>
          </p:nvPr>
        </p:nvSpPr>
        <p:spPr>
          <a:xfrm>
            <a:off x="622300" y="1412875"/>
            <a:ext cx="8856663" cy="4371975"/>
          </a:xfrm>
          <a:prstGeom prst="rect">
            <a:avLst/>
          </a:prstGeom>
        </p:spPr>
        <p:txBody>
          <a:bodyPr/>
          <a:lstStyle>
            <a:lvl1pPr>
              <a:defRPr sz="1800"/>
            </a:lvl1pPr>
          </a:lstStyle>
          <a:p>
            <a:r>
              <a:rPr lang="de-DE" dirty="0"/>
              <a:t>Diagramm durch Klicken auf Symbol hinzufügen</a:t>
            </a:r>
          </a:p>
        </p:txBody>
      </p:sp>
      <p:sp>
        <p:nvSpPr>
          <p:cNvPr id="2" name="Datumsplatzhalter 1"/>
          <p:cNvSpPr>
            <a:spLocks noGrp="1"/>
          </p:cNvSpPr>
          <p:nvPr>
            <p:ph type="dt" sz="half" idx="15"/>
          </p:nvPr>
        </p:nvSpPr>
        <p:spPr/>
        <p:txBody>
          <a:bodyPr/>
          <a:lstStyle/>
          <a:p>
            <a:fld id="{80003CBE-3813-4202-B7C7-13DE78AA34F9}" type="datetime1">
              <a:rPr lang="de-DE" smtClean="0"/>
              <a:t>27.06.2019</a:t>
            </a:fld>
            <a:endParaRPr lang="de-DE" dirty="0"/>
          </a:p>
        </p:txBody>
      </p:sp>
      <p:sp>
        <p:nvSpPr>
          <p:cNvPr id="4" name="Fußzeilenplatzhalter 3"/>
          <p:cNvSpPr>
            <a:spLocks noGrp="1"/>
          </p:cNvSpPr>
          <p:nvPr>
            <p:ph type="ftr" sz="quarter" idx="16"/>
          </p:nvPr>
        </p:nvSpPr>
        <p:spPr/>
        <p:txBody>
          <a:bodyPr/>
          <a:lstStyle>
            <a:lvl1pPr>
              <a:defRPr/>
            </a:lvl1pPr>
          </a:lstStyle>
          <a:p>
            <a:r>
              <a:rPr lang="de-DE" dirty="0"/>
              <a:t> © RA Stephan Schmidt | TCI Rechtsanwälte 2019</a:t>
            </a:r>
          </a:p>
        </p:txBody>
      </p:sp>
      <p:sp>
        <p:nvSpPr>
          <p:cNvPr id="5" name="Foliennummernplatzhalter 4"/>
          <p:cNvSpPr>
            <a:spLocks noGrp="1"/>
          </p:cNvSpPr>
          <p:nvPr>
            <p:ph type="sldNum" sz="quarter" idx="17"/>
          </p:nvPr>
        </p:nvSpPr>
        <p:spPr/>
        <p:txBody>
          <a:bodyPr/>
          <a:lstStyle/>
          <a:p>
            <a:fld id="{2B4A8978-7379-4EE5-A30C-C3165A133675}" type="slidenum">
              <a:rPr lang="de-DE" smtClean="0"/>
              <a:pPr/>
              <a:t>‹Nr.›</a:t>
            </a:fld>
            <a:endParaRPr lang="de-DE" dirty="0"/>
          </a:p>
        </p:txBody>
      </p:sp>
      <p:pic>
        <p:nvPicPr>
          <p:cNvPr id="10" name="Picture 2" descr="https://lh5.googleusercontent.com/-QRMHLQ2c3bU/T4rHlRxXshI/AAAAAAAHStY/8N2jk6DWnw8/w943-h793-no/TCI+Rechtsanw%25C3%25A4lte">
            <a:extLst>
              <a:ext uri="{FF2B5EF4-FFF2-40B4-BE49-F238E27FC236}">
                <a16:creationId xmlns:a16="http://schemas.microsoft.com/office/drawing/2014/main" id="{26248619-7443-4D36-9521-EC92EFAEBF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86229" y="192192"/>
            <a:ext cx="10414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716943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eere Folie">
    <p:spTree>
      <p:nvGrpSpPr>
        <p:cNvPr id="1" name=""/>
        <p:cNvGrpSpPr/>
        <p:nvPr/>
      </p:nvGrpSpPr>
      <p:grpSpPr>
        <a:xfrm>
          <a:off x="0" y="0"/>
          <a:ext cx="0" cy="0"/>
          <a:chOff x="0" y="0"/>
          <a:chExt cx="0" cy="0"/>
        </a:xfrm>
      </p:grpSpPr>
      <p:sp>
        <p:nvSpPr>
          <p:cNvPr id="7" name="Titel 1"/>
          <p:cNvSpPr>
            <a:spLocks noGrp="1"/>
          </p:cNvSpPr>
          <p:nvPr>
            <p:ph type="title"/>
          </p:nvPr>
        </p:nvSpPr>
        <p:spPr>
          <a:xfrm>
            <a:off x="622598" y="180000"/>
            <a:ext cx="9926102" cy="562074"/>
          </a:xfrm>
          <a:prstGeom prst="rect">
            <a:avLst/>
          </a:prstGeom>
        </p:spPr>
        <p:txBody>
          <a:bodyPr/>
          <a:lstStyle>
            <a:lvl1pPr>
              <a:defRPr sz="3600">
                <a:solidFill>
                  <a:srgbClr val="4B93A9"/>
                </a:solidFill>
              </a:defRPr>
            </a:lvl1pPr>
          </a:lstStyle>
          <a:p>
            <a:r>
              <a:rPr lang="de-DE" dirty="0"/>
              <a:t>Mastertitelformat bearbeiten</a:t>
            </a:r>
          </a:p>
        </p:txBody>
      </p:sp>
      <p:sp>
        <p:nvSpPr>
          <p:cNvPr id="13" name="Textplatzhalter 7"/>
          <p:cNvSpPr>
            <a:spLocks noGrp="1"/>
          </p:cNvSpPr>
          <p:nvPr>
            <p:ph type="body" sz="quarter" idx="13" hasCustomPrompt="1"/>
          </p:nvPr>
        </p:nvSpPr>
        <p:spPr>
          <a:xfrm>
            <a:off x="622598" y="692696"/>
            <a:ext cx="9919939" cy="360363"/>
          </a:xfrm>
          <a:prstGeom prst="rect">
            <a:avLst/>
          </a:prstGeom>
        </p:spPr>
        <p:txBody>
          <a:bodyPr/>
          <a:lstStyle>
            <a:lvl1pPr marL="0" indent="0">
              <a:lnSpc>
                <a:spcPts val="2400"/>
              </a:lnSpc>
              <a:buNone/>
              <a:defRPr sz="1800"/>
            </a:lvl1pPr>
            <a:lvl2pPr marL="361950" indent="0">
              <a:lnSpc>
                <a:spcPts val="2400"/>
              </a:lnSpc>
              <a:buNone/>
              <a:defRPr sz="1750"/>
            </a:lvl2pPr>
            <a:lvl3pPr marL="714375" indent="0">
              <a:lnSpc>
                <a:spcPts val="2400"/>
              </a:lnSpc>
              <a:buNone/>
              <a:defRPr sz="1750"/>
            </a:lvl3pPr>
            <a:lvl4pPr marL="990600" indent="0">
              <a:lnSpc>
                <a:spcPts val="2400"/>
              </a:lnSpc>
              <a:buNone/>
              <a:defRPr sz="1750"/>
            </a:lvl4pPr>
            <a:lvl5pPr marL="1828800" indent="0">
              <a:lnSpc>
                <a:spcPts val="2400"/>
              </a:lnSpc>
              <a:buNone/>
              <a:defRPr sz="1750"/>
            </a:lvl5pPr>
          </a:lstStyle>
          <a:p>
            <a:pPr lvl="0"/>
            <a:r>
              <a:rPr lang="de-DE" dirty="0" err="1"/>
              <a:t>Subline</a:t>
            </a:r>
            <a:endParaRPr lang="de-DE" dirty="0"/>
          </a:p>
        </p:txBody>
      </p:sp>
      <p:sp>
        <p:nvSpPr>
          <p:cNvPr id="2" name="Datumsplatzhalter 1"/>
          <p:cNvSpPr>
            <a:spLocks noGrp="1"/>
          </p:cNvSpPr>
          <p:nvPr>
            <p:ph type="dt" sz="half" idx="14"/>
          </p:nvPr>
        </p:nvSpPr>
        <p:spPr/>
        <p:txBody>
          <a:bodyPr/>
          <a:lstStyle/>
          <a:p>
            <a:fld id="{0ACD1CE4-A236-40F8-9B34-9531B56855F7}" type="datetime1">
              <a:rPr lang="de-DE" smtClean="0"/>
              <a:t>27.06.2019</a:t>
            </a:fld>
            <a:endParaRPr lang="de-DE" dirty="0"/>
          </a:p>
        </p:txBody>
      </p:sp>
      <p:sp>
        <p:nvSpPr>
          <p:cNvPr id="3" name="Fußzeilenplatzhalter 2"/>
          <p:cNvSpPr>
            <a:spLocks noGrp="1"/>
          </p:cNvSpPr>
          <p:nvPr>
            <p:ph type="ftr" sz="quarter" idx="15"/>
          </p:nvPr>
        </p:nvSpPr>
        <p:spPr/>
        <p:txBody>
          <a:bodyPr/>
          <a:lstStyle>
            <a:lvl1pPr>
              <a:defRPr/>
            </a:lvl1pPr>
          </a:lstStyle>
          <a:p>
            <a:r>
              <a:rPr lang="de-DE" dirty="0"/>
              <a:t> © RA Stephan Schmidt | TCI Rechtsanwälte 2019</a:t>
            </a:r>
          </a:p>
        </p:txBody>
      </p:sp>
      <p:sp>
        <p:nvSpPr>
          <p:cNvPr id="4" name="Foliennummernplatzhalter 3"/>
          <p:cNvSpPr>
            <a:spLocks noGrp="1"/>
          </p:cNvSpPr>
          <p:nvPr>
            <p:ph type="sldNum" sz="quarter" idx="16"/>
          </p:nvPr>
        </p:nvSpPr>
        <p:spPr/>
        <p:txBody>
          <a:bodyPr/>
          <a:lstStyle/>
          <a:p>
            <a:fld id="{2B4A8978-7379-4EE5-A30C-C3165A133675}" type="slidenum">
              <a:rPr lang="de-DE" smtClean="0"/>
              <a:pPr/>
              <a:t>‹Nr.›</a:t>
            </a:fld>
            <a:endParaRPr lang="de-DE" dirty="0"/>
          </a:p>
        </p:txBody>
      </p:sp>
      <p:pic>
        <p:nvPicPr>
          <p:cNvPr id="9" name="Picture 2" descr="https://lh5.googleusercontent.com/-QRMHLQ2c3bU/T4rHlRxXshI/AAAAAAAHStY/8N2jk6DWnw8/w943-h793-no/TCI+Rechtsanw%25C3%25A4lte">
            <a:extLst>
              <a:ext uri="{FF2B5EF4-FFF2-40B4-BE49-F238E27FC236}">
                <a16:creationId xmlns:a16="http://schemas.microsoft.com/office/drawing/2014/main" id="{EB0AF45F-26A8-4967-81E7-C55D629652B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01012" y="205348"/>
            <a:ext cx="10414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80881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 name="Titel 1"/>
          <p:cNvSpPr>
            <a:spLocks noGrp="1"/>
          </p:cNvSpPr>
          <p:nvPr>
            <p:ph type="title"/>
          </p:nvPr>
        </p:nvSpPr>
        <p:spPr>
          <a:xfrm>
            <a:off x="619952" y="180000"/>
            <a:ext cx="9926102" cy="562074"/>
          </a:xfrm>
          <a:prstGeom prst="rect">
            <a:avLst/>
          </a:prstGeom>
        </p:spPr>
        <p:txBody>
          <a:bodyPr/>
          <a:lstStyle>
            <a:lvl1pPr>
              <a:defRPr sz="3600">
                <a:solidFill>
                  <a:srgbClr val="4B93A9"/>
                </a:solidFill>
              </a:defRPr>
            </a:lvl1pPr>
          </a:lstStyle>
          <a:p>
            <a:r>
              <a:rPr lang="de-DE" dirty="0"/>
              <a:t>Mastertitelformat bearbeiten</a:t>
            </a:r>
          </a:p>
        </p:txBody>
      </p:sp>
      <p:sp>
        <p:nvSpPr>
          <p:cNvPr id="5" name="Textplatzhalter 4"/>
          <p:cNvSpPr>
            <a:spLocks noGrp="1"/>
          </p:cNvSpPr>
          <p:nvPr>
            <p:ph type="body" sz="quarter" idx="10"/>
          </p:nvPr>
        </p:nvSpPr>
        <p:spPr>
          <a:xfrm>
            <a:off x="622299" y="1412876"/>
            <a:ext cx="7312025" cy="4968874"/>
          </a:xfrm>
          <a:prstGeom prst="rect">
            <a:avLst/>
          </a:prstGeom>
        </p:spPr>
        <p:txBody>
          <a:bodyPr anchor="ctr"/>
          <a:lstStyle>
            <a:lvl1pPr marL="457200" indent="-457200">
              <a:buClr>
                <a:srgbClr val="A68A4D"/>
              </a:buClr>
              <a:buFont typeface="Arial" panose="020B0604020202020204" pitchFamily="34" charset="0"/>
              <a:buChar char="•"/>
              <a:defRPr sz="2800">
                <a:solidFill>
                  <a:srgbClr val="4B93A9"/>
                </a:solidFill>
                <a:latin typeface="+mj-lt"/>
              </a:defRPr>
            </a:lvl1pPr>
          </a:lstStyle>
          <a:p>
            <a:pPr lvl="0"/>
            <a:r>
              <a:rPr lang="de-DE" dirty="0"/>
              <a:t>Mastertextformat bearbeiten</a:t>
            </a:r>
          </a:p>
        </p:txBody>
      </p:sp>
      <p:sp>
        <p:nvSpPr>
          <p:cNvPr id="3" name="Datumsplatzhalter 2"/>
          <p:cNvSpPr>
            <a:spLocks noGrp="1"/>
          </p:cNvSpPr>
          <p:nvPr>
            <p:ph type="dt" sz="half" idx="11"/>
          </p:nvPr>
        </p:nvSpPr>
        <p:spPr/>
        <p:txBody>
          <a:bodyPr/>
          <a:lstStyle/>
          <a:p>
            <a:fld id="{77FF79F0-1919-4A58-8195-43E519DC2B67}" type="datetime1">
              <a:rPr lang="de-DE" smtClean="0"/>
              <a:t>27.06.2019</a:t>
            </a:fld>
            <a:endParaRPr lang="de-DE" dirty="0"/>
          </a:p>
        </p:txBody>
      </p:sp>
      <p:sp>
        <p:nvSpPr>
          <p:cNvPr id="6" name="Fußzeilenplatzhalter 5"/>
          <p:cNvSpPr>
            <a:spLocks noGrp="1"/>
          </p:cNvSpPr>
          <p:nvPr>
            <p:ph type="ftr" sz="quarter" idx="12"/>
          </p:nvPr>
        </p:nvSpPr>
        <p:spPr/>
        <p:txBody>
          <a:bodyPr/>
          <a:lstStyle>
            <a:lvl1pPr>
              <a:defRPr/>
            </a:lvl1pPr>
          </a:lstStyle>
          <a:p>
            <a:r>
              <a:rPr lang="de-DE" dirty="0"/>
              <a:t> © RA Stephan Schmidt | TCI Rechtsanwälte 2019</a:t>
            </a:r>
          </a:p>
        </p:txBody>
      </p:sp>
      <p:sp>
        <p:nvSpPr>
          <p:cNvPr id="10" name="Foliennummernplatzhalter 9"/>
          <p:cNvSpPr>
            <a:spLocks noGrp="1"/>
          </p:cNvSpPr>
          <p:nvPr>
            <p:ph type="sldNum" sz="quarter" idx="13"/>
          </p:nvPr>
        </p:nvSpPr>
        <p:spPr/>
        <p:txBody>
          <a:bodyPr/>
          <a:lstStyle/>
          <a:p>
            <a:fld id="{2B4A8978-7379-4EE5-A30C-C3165A133675}" type="slidenum">
              <a:rPr lang="de-DE" smtClean="0"/>
              <a:pPr/>
              <a:t>‹Nr.›</a:t>
            </a:fld>
            <a:endParaRPr lang="de-DE" dirty="0"/>
          </a:p>
        </p:txBody>
      </p:sp>
      <p:pic>
        <p:nvPicPr>
          <p:cNvPr id="9" name="Picture 2" descr="https://lh5.googleusercontent.com/-QRMHLQ2c3bU/T4rHlRxXshI/AAAAAAAHStY/8N2jk6DWnw8/w943-h793-no/TCI+Rechtsanw%25C3%25A4lte">
            <a:extLst>
              <a:ext uri="{FF2B5EF4-FFF2-40B4-BE49-F238E27FC236}">
                <a16:creationId xmlns:a16="http://schemas.microsoft.com/office/drawing/2014/main" id="{3D991BFC-183E-4FF1-8F8D-CAAE76243EA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89995" y="180000"/>
            <a:ext cx="10414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10293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ennfolie">
    <p:spTree>
      <p:nvGrpSpPr>
        <p:cNvPr id="1" name=""/>
        <p:cNvGrpSpPr/>
        <p:nvPr/>
      </p:nvGrpSpPr>
      <p:grpSpPr>
        <a:xfrm>
          <a:off x="0" y="0"/>
          <a:ext cx="0" cy="0"/>
          <a:chOff x="0" y="0"/>
          <a:chExt cx="0" cy="0"/>
        </a:xfrm>
      </p:grpSpPr>
      <p:sp>
        <p:nvSpPr>
          <p:cNvPr id="7" name="Rechteck 6"/>
          <p:cNvSpPr/>
          <p:nvPr userDrawn="1"/>
        </p:nvSpPr>
        <p:spPr>
          <a:xfrm>
            <a:off x="-130086" y="754391"/>
            <a:ext cx="12190413" cy="1377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title"/>
          </p:nvPr>
        </p:nvSpPr>
        <p:spPr>
          <a:xfrm>
            <a:off x="622598" y="2760983"/>
            <a:ext cx="10685047" cy="3613521"/>
          </a:xfrm>
          <a:prstGeom prst="rect">
            <a:avLst/>
          </a:prstGeom>
        </p:spPr>
        <p:txBody>
          <a:bodyPr anchor="b" anchorCtr="0"/>
          <a:lstStyle>
            <a:lvl1pPr algn="l">
              <a:lnSpc>
                <a:spcPts val="9000"/>
              </a:lnSpc>
              <a:defRPr sz="8000" b="0" cap="none" baseline="0">
                <a:solidFill>
                  <a:srgbClr val="4B93A9"/>
                </a:solidFill>
              </a:defRPr>
            </a:lvl1pPr>
          </a:lstStyle>
          <a:p>
            <a:r>
              <a:rPr lang="de-DE" dirty="0"/>
              <a:t>Mastertitelformat bearbeiten</a:t>
            </a:r>
          </a:p>
        </p:txBody>
      </p:sp>
      <p:sp>
        <p:nvSpPr>
          <p:cNvPr id="3" name="Datumsplatzhalter 2"/>
          <p:cNvSpPr>
            <a:spLocks noGrp="1"/>
          </p:cNvSpPr>
          <p:nvPr>
            <p:ph type="dt" sz="half" idx="10"/>
          </p:nvPr>
        </p:nvSpPr>
        <p:spPr/>
        <p:txBody>
          <a:bodyPr/>
          <a:lstStyle/>
          <a:p>
            <a:fld id="{8DC43CEE-C4CE-4CEB-9EAC-1ED2499A0951}" type="datetime1">
              <a:rPr lang="de-DE" smtClean="0"/>
              <a:t>27.06.2019</a:t>
            </a:fld>
            <a:endParaRPr lang="de-DE" dirty="0"/>
          </a:p>
        </p:txBody>
      </p:sp>
      <p:sp>
        <p:nvSpPr>
          <p:cNvPr id="4" name="Fußzeilenplatzhalter 3"/>
          <p:cNvSpPr>
            <a:spLocks noGrp="1"/>
          </p:cNvSpPr>
          <p:nvPr>
            <p:ph type="ftr" sz="quarter" idx="11"/>
          </p:nvPr>
        </p:nvSpPr>
        <p:spPr/>
        <p:txBody>
          <a:bodyPr/>
          <a:lstStyle>
            <a:lvl1pPr>
              <a:defRPr/>
            </a:lvl1pPr>
          </a:lstStyle>
          <a:p>
            <a:r>
              <a:rPr lang="de-DE" dirty="0"/>
              <a:t> © RA Stephan Schmidt | TCI Rechtsanwälte 2019</a:t>
            </a:r>
          </a:p>
        </p:txBody>
      </p:sp>
      <p:sp>
        <p:nvSpPr>
          <p:cNvPr id="5" name="Foliennummernplatzhalter 4"/>
          <p:cNvSpPr>
            <a:spLocks noGrp="1"/>
          </p:cNvSpPr>
          <p:nvPr>
            <p:ph type="sldNum" sz="quarter" idx="12"/>
          </p:nvPr>
        </p:nvSpPr>
        <p:spPr/>
        <p:txBody>
          <a:bodyPr/>
          <a:lstStyle/>
          <a:p>
            <a:fld id="{2B4A8978-7379-4EE5-A30C-C3165A133675}" type="slidenum">
              <a:rPr lang="de-DE" smtClean="0"/>
              <a:pPr/>
              <a:t>‹Nr.›</a:t>
            </a:fld>
            <a:endParaRPr lang="de-DE" dirty="0"/>
          </a:p>
        </p:txBody>
      </p:sp>
      <p:pic>
        <p:nvPicPr>
          <p:cNvPr id="10" name="Picture 2" descr="https://lh5.googleusercontent.com/-QRMHLQ2c3bU/T4rHlRxXshI/AAAAAAAHStY/8N2jk6DWnw8/w943-h793-no/TCI+Rechtsanw%25C3%25A4lte">
            <a:extLst>
              <a:ext uri="{FF2B5EF4-FFF2-40B4-BE49-F238E27FC236}">
                <a16:creationId xmlns:a16="http://schemas.microsoft.com/office/drawing/2014/main" id="{DB32FC1E-7D3E-4E87-A9C0-B5F00E909AD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83540" y="212418"/>
            <a:ext cx="10414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5192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ennfolie mit Bild">
    <p:spTree>
      <p:nvGrpSpPr>
        <p:cNvPr id="1" name=""/>
        <p:cNvGrpSpPr/>
        <p:nvPr/>
      </p:nvGrpSpPr>
      <p:grpSpPr>
        <a:xfrm>
          <a:off x="0" y="0"/>
          <a:ext cx="0" cy="0"/>
          <a:chOff x="0" y="0"/>
          <a:chExt cx="0" cy="0"/>
        </a:xfrm>
      </p:grpSpPr>
      <p:sp>
        <p:nvSpPr>
          <p:cNvPr id="12" name="Bildplatzhalter 8"/>
          <p:cNvSpPr>
            <a:spLocks noGrp="1"/>
          </p:cNvSpPr>
          <p:nvPr>
            <p:ph type="pic" sz="quarter" idx="14" hasCustomPrompt="1"/>
          </p:nvPr>
        </p:nvSpPr>
        <p:spPr>
          <a:xfrm>
            <a:off x="0" y="1849486"/>
            <a:ext cx="12190412" cy="5016500"/>
          </a:xfrm>
          <a:prstGeom prst="rect">
            <a:avLst/>
          </a:prstGeom>
          <a:solidFill>
            <a:schemeClr val="bg1">
              <a:lumMod val="65000"/>
            </a:schemeClr>
          </a:solidFill>
        </p:spPr>
        <p:txBody>
          <a:bodyPr anchor="ctr" anchorCtr="0"/>
          <a:lstStyle>
            <a:lvl1pPr marL="0" indent="0" algn="ctr">
              <a:lnSpc>
                <a:spcPct val="100000"/>
              </a:lnSpc>
              <a:buNone/>
              <a:defRPr sz="1700">
                <a:solidFill>
                  <a:schemeClr val="tx1"/>
                </a:solidFill>
              </a:defRPr>
            </a:lvl1pPr>
          </a:lstStyle>
          <a:p>
            <a:r>
              <a:rPr lang="de-DE" dirty="0"/>
              <a:t>Bild auf Platzhalter ziehen oder durch Klicken auf das Symbol hinzufügen </a:t>
            </a:r>
          </a:p>
        </p:txBody>
      </p:sp>
      <p:sp>
        <p:nvSpPr>
          <p:cNvPr id="5" name="Titel 4"/>
          <p:cNvSpPr>
            <a:spLocks noGrp="1"/>
          </p:cNvSpPr>
          <p:nvPr>
            <p:ph type="title"/>
          </p:nvPr>
        </p:nvSpPr>
        <p:spPr>
          <a:xfrm>
            <a:off x="4511030" y="1084944"/>
            <a:ext cx="7053908" cy="562074"/>
          </a:xfrm>
          <a:prstGeom prst="rect">
            <a:avLst/>
          </a:prstGeom>
        </p:spPr>
        <p:txBody>
          <a:bodyPr anchor="b"/>
          <a:lstStyle>
            <a:lvl1pPr>
              <a:defRPr sz="3600">
                <a:solidFill>
                  <a:srgbClr val="4B93A9"/>
                </a:solidFill>
              </a:defRPr>
            </a:lvl1pPr>
          </a:lstStyle>
          <a:p>
            <a:r>
              <a:rPr lang="de-DE" dirty="0"/>
              <a:t>Mastertitelformat bearbeiten</a:t>
            </a:r>
          </a:p>
        </p:txBody>
      </p:sp>
      <p:pic>
        <p:nvPicPr>
          <p:cNvPr id="7" name="Picture 2" descr="https://lh5.googleusercontent.com/-QRMHLQ2c3bU/T4rHlRxXshI/AAAAAAAHStY/8N2jk6DWnw8/w943-h793-no/TCI+Rechtsanw%25C3%25A4lte">
            <a:extLst>
              <a:ext uri="{FF2B5EF4-FFF2-40B4-BE49-F238E27FC236}">
                <a16:creationId xmlns:a16="http://schemas.microsoft.com/office/drawing/2014/main" id="{8605C717-9B74-4ACB-AE8C-FED0B0054FB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14686" y="646794"/>
            <a:ext cx="10414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14406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points">
    <p:spTree>
      <p:nvGrpSpPr>
        <p:cNvPr id="1" name=""/>
        <p:cNvGrpSpPr/>
        <p:nvPr/>
      </p:nvGrpSpPr>
      <p:grpSpPr>
        <a:xfrm>
          <a:off x="0" y="0"/>
          <a:ext cx="0" cy="0"/>
          <a:chOff x="0" y="0"/>
          <a:chExt cx="0" cy="0"/>
        </a:xfrm>
      </p:grpSpPr>
      <p:sp>
        <p:nvSpPr>
          <p:cNvPr id="7" name="Titel 1"/>
          <p:cNvSpPr>
            <a:spLocks noGrp="1"/>
          </p:cNvSpPr>
          <p:nvPr>
            <p:ph type="title"/>
          </p:nvPr>
        </p:nvSpPr>
        <p:spPr>
          <a:xfrm>
            <a:off x="622598" y="180000"/>
            <a:ext cx="9926102" cy="562074"/>
          </a:xfrm>
          <a:prstGeom prst="rect">
            <a:avLst/>
          </a:prstGeom>
        </p:spPr>
        <p:txBody>
          <a:bodyPr/>
          <a:lstStyle>
            <a:lvl1pPr>
              <a:defRPr sz="3600">
                <a:solidFill>
                  <a:srgbClr val="4B93A9"/>
                </a:solidFill>
              </a:defRPr>
            </a:lvl1pPr>
          </a:lstStyle>
          <a:p>
            <a:r>
              <a:rPr lang="de-DE" dirty="0"/>
              <a:t>Mastertitelformat bearbeiten</a:t>
            </a:r>
          </a:p>
        </p:txBody>
      </p:sp>
      <p:sp>
        <p:nvSpPr>
          <p:cNvPr id="13" name="Textplatzhalter 7"/>
          <p:cNvSpPr>
            <a:spLocks noGrp="1"/>
          </p:cNvSpPr>
          <p:nvPr>
            <p:ph type="body" sz="quarter" idx="13" hasCustomPrompt="1"/>
          </p:nvPr>
        </p:nvSpPr>
        <p:spPr>
          <a:xfrm>
            <a:off x="622598" y="692696"/>
            <a:ext cx="9919939" cy="360363"/>
          </a:xfrm>
          <a:prstGeom prst="rect">
            <a:avLst/>
          </a:prstGeom>
        </p:spPr>
        <p:txBody>
          <a:bodyPr/>
          <a:lstStyle>
            <a:lvl1pPr marL="0" indent="0">
              <a:lnSpc>
                <a:spcPts val="2400"/>
              </a:lnSpc>
              <a:buNone/>
              <a:defRPr sz="1800"/>
            </a:lvl1pPr>
            <a:lvl2pPr marL="361950" indent="0">
              <a:lnSpc>
                <a:spcPts val="2400"/>
              </a:lnSpc>
              <a:buNone/>
              <a:defRPr sz="1750"/>
            </a:lvl2pPr>
            <a:lvl3pPr marL="714375" indent="0">
              <a:lnSpc>
                <a:spcPts val="2400"/>
              </a:lnSpc>
              <a:buNone/>
              <a:defRPr sz="1750"/>
            </a:lvl3pPr>
            <a:lvl4pPr marL="990600" indent="0">
              <a:lnSpc>
                <a:spcPts val="2400"/>
              </a:lnSpc>
              <a:buNone/>
              <a:defRPr sz="1750"/>
            </a:lvl4pPr>
            <a:lvl5pPr marL="1828800" indent="0">
              <a:lnSpc>
                <a:spcPts val="2400"/>
              </a:lnSpc>
              <a:buNone/>
              <a:defRPr sz="1750"/>
            </a:lvl5pPr>
          </a:lstStyle>
          <a:p>
            <a:pPr lvl="0"/>
            <a:r>
              <a:rPr lang="de-DE" dirty="0" err="1"/>
              <a:t>Subline</a:t>
            </a:r>
            <a:endParaRPr lang="de-DE" dirty="0"/>
          </a:p>
        </p:txBody>
      </p:sp>
      <p:sp>
        <p:nvSpPr>
          <p:cNvPr id="8" name="Textplatzhalter 17"/>
          <p:cNvSpPr>
            <a:spLocks noGrp="1"/>
          </p:cNvSpPr>
          <p:nvPr>
            <p:ph type="body" sz="quarter" idx="15"/>
          </p:nvPr>
        </p:nvSpPr>
        <p:spPr>
          <a:xfrm>
            <a:off x="617575" y="1412453"/>
            <a:ext cx="8934015" cy="4969297"/>
          </a:xfrm>
          <a:prstGeom prst="rect">
            <a:avLst/>
          </a:prstGeom>
        </p:spPr>
        <p:txBody>
          <a:bodyPr/>
          <a:lstStyle>
            <a:lvl1pPr marL="285750" indent="-285750">
              <a:lnSpc>
                <a:spcPct val="100000"/>
              </a:lnSpc>
              <a:spcBef>
                <a:spcPts val="600"/>
              </a:spcBef>
              <a:buClr>
                <a:srgbClr val="A68A4D"/>
              </a:buClr>
              <a:buFont typeface="Arial" panose="020B0604020202020204" pitchFamily="34" charset="0"/>
              <a:buChar char="•"/>
              <a:defRPr lang="de-DE" sz="1800" dirty="0" smtClean="0"/>
            </a:lvl1pPr>
            <a:lvl2pPr>
              <a:lnSpc>
                <a:spcPct val="100000"/>
              </a:lnSpc>
              <a:spcBef>
                <a:spcPts val="600"/>
              </a:spcBef>
              <a:buClr>
                <a:srgbClr val="A68A4D"/>
              </a:buClr>
              <a:buSzPct val="75000"/>
              <a:buFont typeface="Arial" panose="020B0604020202020204" pitchFamily="34" charset="0"/>
              <a:buChar char="•"/>
              <a:defRPr sz="1600"/>
            </a:lvl2pPr>
            <a:lvl3pPr>
              <a:buClr>
                <a:srgbClr val="A68A4D"/>
              </a:buClr>
              <a:buSzPct val="70000"/>
              <a:defRPr sz="1400"/>
            </a:lvl3pPr>
            <a:lvl4pPr marL="1257300" indent="-266700">
              <a:buClr>
                <a:srgbClr val="A68A4D"/>
              </a:buClr>
              <a:buSzPct val="60000"/>
              <a:buFont typeface="Arial" panose="020B0604020202020204" pitchFamily="34" charset="0"/>
              <a:buChar char="•"/>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Datumsplatzhalter 1"/>
          <p:cNvSpPr>
            <a:spLocks noGrp="1"/>
          </p:cNvSpPr>
          <p:nvPr>
            <p:ph type="dt" sz="half" idx="16"/>
          </p:nvPr>
        </p:nvSpPr>
        <p:spPr/>
        <p:txBody>
          <a:bodyPr/>
          <a:lstStyle/>
          <a:p>
            <a:fld id="{C9767D24-8780-4BA7-8F59-72356E970B2B}" type="datetime1">
              <a:rPr lang="de-DE" smtClean="0"/>
              <a:t>27.06.2019</a:t>
            </a:fld>
            <a:endParaRPr lang="de-DE" dirty="0"/>
          </a:p>
        </p:txBody>
      </p:sp>
      <p:sp>
        <p:nvSpPr>
          <p:cNvPr id="3" name="Fußzeilenplatzhalter 2"/>
          <p:cNvSpPr>
            <a:spLocks noGrp="1"/>
          </p:cNvSpPr>
          <p:nvPr>
            <p:ph type="ftr" sz="quarter" idx="17"/>
          </p:nvPr>
        </p:nvSpPr>
        <p:spPr/>
        <p:txBody>
          <a:bodyPr/>
          <a:lstStyle>
            <a:lvl1pPr>
              <a:defRPr/>
            </a:lvl1pPr>
          </a:lstStyle>
          <a:p>
            <a:r>
              <a:rPr lang="de-DE" dirty="0"/>
              <a:t> © RA Stephan Schmidt | TCI Rechtsanwälte 2019</a:t>
            </a:r>
          </a:p>
        </p:txBody>
      </p:sp>
      <p:sp>
        <p:nvSpPr>
          <p:cNvPr id="4" name="Foliennummernplatzhalter 3"/>
          <p:cNvSpPr>
            <a:spLocks noGrp="1"/>
          </p:cNvSpPr>
          <p:nvPr>
            <p:ph type="sldNum" sz="quarter" idx="18"/>
          </p:nvPr>
        </p:nvSpPr>
        <p:spPr/>
        <p:txBody>
          <a:bodyPr/>
          <a:lstStyle/>
          <a:p>
            <a:fld id="{2B4A8978-7379-4EE5-A30C-C3165A133675}" type="slidenum">
              <a:rPr lang="de-DE" smtClean="0"/>
              <a:pPr/>
              <a:t>‹Nr.›</a:t>
            </a:fld>
            <a:endParaRPr lang="de-DE" dirty="0"/>
          </a:p>
        </p:txBody>
      </p:sp>
      <p:pic>
        <p:nvPicPr>
          <p:cNvPr id="10" name="Picture 2" descr="https://lh5.googleusercontent.com/-QRMHLQ2c3bU/T4rHlRxXshI/AAAAAAAHStY/8N2jk6DWnw8/w943-h793-no/TCI+Rechtsanw%25C3%25A4lte">
            <a:extLst>
              <a:ext uri="{FF2B5EF4-FFF2-40B4-BE49-F238E27FC236}">
                <a16:creationId xmlns:a16="http://schemas.microsoft.com/office/drawing/2014/main" id="{93856E83-4BD8-4FA6-BE0A-7D9474FC105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00022" y="182855"/>
            <a:ext cx="10414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0332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points &amp; grafisches Element">
    <p:spTree>
      <p:nvGrpSpPr>
        <p:cNvPr id="1" name=""/>
        <p:cNvGrpSpPr/>
        <p:nvPr/>
      </p:nvGrpSpPr>
      <p:grpSpPr>
        <a:xfrm>
          <a:off x="0" y="0"/>
          <a:ext cx="0" cy="0"/>
          <a:chOff x="0" y="0"/>
          <a:chExt cx="0" cy="0"/>
        </a:xfrm>
      </p:grpSpPr>
      <p:sp>
        <p:nvSpPr>
          <p:cNvPr id="7" name="Titel 1"/>
          <p:cNvSpPr>
            <a:spLocks noGrp="1"/>
          </p:cNvSpPr>
          <p:nvPr>
            <p:ph type="title"/>
          </p:nvPr>
        </p:nvSpPr>
        <p:spPr>
          <a:xfrm>
            <a:off x="622598" y="180000"/>
            <a:ext cx="9926102" cy="562074"/>
          </a:xfrm>
          <a:prstGeom prst="rect">
            <a:avLst/>
          </a:prstGeom>
        </p:spPr>
        <p:txBody>
          <a:bodyPr/>
          <a:lstStyle>
            <a:lvl1pPr>
              <a:defRPr sz="3600">
                <a:solidFill>
                  <a:srgbClr val="4B93A9"/>
                </a:solidFill>
              </a:defRPr>
            </a:lvl1pPr>
          </a:lstStyle>
          <a:p>
            <a:r>
              <a:rPr lang="de-DE" dirty="0"/>
              <a:t>Mastertitelformat bearbeiten</a:t>
            </a:r>
          </a:p>
        </p:txBody>
      </p:sp>
      <p:sp>
        <p:nvSpPr>
          <p:cNvPr id="13" name="Textplatzhalter 7"/>
          <p:cNvSpPr>
            <a:spLocks noGrp="1"/>
          </p:cNvSpPr>
          <p:nvPr>
            <p:ph type="body" sz="quarter" idx="13" hasCustomPrompt="1"/>
          </p:nvPr>
        </p:nvSpPr>
        <p:spPr>
          <a:xfrm>
            <a:off x="622598" y="692696"/>
            <a:ext cx="9919939" cy="360363"/>
          </a:xfrm>
          <a:prstGeom prst="rect">
            <a:avLst/>
          </a:prstGeom>
        </p:spPr>
        <p:txBody>
          <a:bodyPr/>
          <a:lstStyle>
            <a:lvl1pPr marL="0" indent="0">
              <a:lnSpc>
                <a:spcPts val="2400"/>
              </a:lnSpc>
              <a:buNone/>
              <a:defRPr sz="1800"/>
            </a:lvl1pPr>
            <a:lvl2pPr marL="361950" indent="0">
              <a:lnSpc>
                <a:spcPts val="2400"/>
              </a:lnSpc>
              <a:buNone/>
              <a:defRPr sz="1750"/>
            </a:lvl2pPr>
            <a:lvl3pPr marL="714375" indent="0">
              <a:lnSpc>
                <a:spcPts val="2400"/>
              </a:lnSpc>
              <a:buNone/>
              <a:defRPr sz="1750"/>
            </a:lvl3pPr>
            <a:lvl4pPr marL="990600" indent="0">
              <a:lnSpc>
                <a:spcPts val="2400"/>
              </a:lnSpc>
              <a:buNone/>
              <a:defRPr sz="1750"/>
            </a:lvl4pPr>
            <a:lvl5pPr marL="1828800" indent="0">
              <a:lnSpc>
                <a:spcPts val="2400"/>
              </a:lnSpc>
              <a:buNone/>
              <a:defRPr sz="1750"/>
            </a:lvl5pPr>
          </a:lstStyle>
          <a:p>
            <a:pPr lvl="0"/>
            <a:r>
              <a:rPr lang="de-DE" dirty="0" err="1"/>
              <a:t>Subline</a:t>
            </a:r>
            <a:endParaRPr lang="de-DE" dirty="0"/>
          </a:p>
        </p:txBody>
      </p:sp>
      <p:sp>
        <p:nvSpPr>
          <p:cNvPr id="11" name="Freeform 9"/>
          <p:cNvSpPr>
            <a:spLocks noEditPoints="1"/>
          </p:cNvSpPr>
          <p:nvPr userDrawn="1"/>
        </p:nvSpPr>
        <p:spPr bwMode="auto">
          <a:xfrm>
            <a:off x="622598" y="6570583"/>
            <a:ext cx="1211534" cy="71918"/>
          </a:xfrm>
          <a:custGeom>
            <a:avLst/>
            <a:gdLst>
              <a:gd name="T0" fmla="*/ 2146 w 7374"/>
              <a:gd name="T1" fmla="*/ 0 h 433"/>
              <a:gd name="T2" fmla="*/ 1782 w 7374"/>
              <a:gd name="T3" fmla="*/ 33 h 433"/>
              <a:gd name="T4" fmla="*/ 6224 w 7374"/>
              <a:gd name="T5" fmla="*/ 8 h 433"/>
              <a:gd name="T6" fmla="*/ 5967 w 7374"/>
              <a:gd name="T7" fmla="*/ 305 h 433"/>
              <a:gd name="T8" fmla="*/ 5910 w 7374"/>
              <a:gd name="T9" fmla="*/ 298 h 433"/>
              <a:gd name="T10" fmla="*/ 6390 w 7374"/>
              <a:gd name="T11" fmla="*/ 8 h 433"/>
              <a:gd name="T12" fmla="*/ 6467 w 7374"/>
              <a:gd name="T13" fmla="*/ 380 h 433"/>
              <a:gd name="T14" fmla="*/ 6718 w 7374"/>
              <a:gd name="T15" fmla="*/ 380 h 433"/>
              <a:gd name="T16" fmla="*/ 6795 w 7374"/>
              <a:gd name="T17" fmla="*/ 8 h 433"/>
              <a:gd name="T18" fmla="*/ 6969 w 7374"/>
              <a:gd name="T19" fmla="*/ 8 h 433"/>
              <a:gd name="T20" fmla="*/ 7046 w 7374"/>
              <a:gd name="T21" fmla="*/ 380 h 433"/>
              <a:gd name="T22" fmla="*/ 7296 w 7374"/>
              <a:gd name="T23" fmla="*/ 380 h 433"/>
              <a:gd name="T24" fmla="*/ 7374 w 7374"/>
              <a:gd name="T25" fmla="*/ 8 h 433"/>
              <a:gd name="T26" fmla="*/ 5307 w 7374"/>
              <a:gd name="T27" fmla="*/ 8 h 433"/>
              <a:gd name="T28" fmla="*/ 5384 w 7374"/>
              <a:gd name="T29" fmla="*/ 380 h 433"/>
              <a:gd name="T30" fmla="*/ 5635 w 7374"/>
              <a:gd name="T31" fmla="*/ 380 h 433"/>
              <a:gd name="T32" fmla="*/ 5712 w 7374"/>
              <a:gd name="T33" fmla="*/ 8 h 433"/>
              <a:gd name="T34" fmla="*/ 5157 w 7374"/>
              <a:gd name="T35" fmla="*/ 207 h 433"/>
              <a:gd name="T36" fmla="*/ 4805 w 7374"/>
              <a:gd name="T37" fmla="*/ 8 h 433"/>
              <a:gd name="T38" fmla="*/ 4456 w 7374"/>
              <a:gd name="T39" fmla="*/ 8 h 433"/>
              <a:gd name="T40" fmla="*/ 4530 w 7374"/>
              <a:gd name="T41" fmla="*/ 379 h 433"/>
              <a:gd name="T42" fmla="*/ 183 w 7374"/>
              <a:gd name="T43" fmla="*/ 237 h 433"/>
              <a:gd name="T44" fmla="*/ 26 w 7374"/>
              <a:gd name="T45" fmla="*/ 380 h 433"/>
              <a:gd name="T46" fmla="*/ 128 w 7374"/>
              <a:gd name="T47" fmla="*/ 240 h 433"/>
              <a:gd name="T48" fmla="*/ 152 w 7374"/>
              <a:gd name="T49" fmla="*/ 48 h 433"/>
              <a:gd name="T50" fmla="*/ 632 w 7374"/>
              <a:gd name="T51" fmla="*/ 0 h 433"/>
              <a:gd name="T52" fmla="*/ 647 w 7374"/>
              <a:gd name="T53" fmla="*/ 391 h 433"/>
              <a:gd name="T54" fmla="*/ 1053 w 7374"/>
              <a:gd name="T55" fmla="*/ 53 h 433"/>
              <a:gd name="T56" fmla="*/ 1105 w 7374"/>
              <a:gd name="T57" fmla="*/ 53 h 433"/>
              <a:gd name="T58" fmla="*/ 938 w 7374"/>
              <a:gd name="T59" fmla="*/ 8 h 433"/>
              <a:gd name="T60" fmla="*/ 1615 w 7374"/>
              <a:gd name="T61" fmla="*/ 53 h 433"/>
              <a:gd name="T62" fmla="*/ 1437 w 7374"/>
              <a:gd name="T63" fmla="*/ 53 h 433"/>
              <a:gd name="T64" fmla="*/ 1360 w 7374"/>
              <a:gd name="T65" fmla="*/ 425 h 433"/>
              <a:gd name="T66" fmla="*/ 1585 w 7374"/>
              <a:gd name="T67" fmla="*/ 383 h 433"/>
              <a:gd name="T68" fmla="*/ 1916 w 7374"/>
              <a:gd name="T69" fmla="*/ 262 h 433"/>
              <a:gd name="T70" fmla="*/ 2074 w 7374"/>
              <a:gd name="T71" fmla="*/ 425 h 433"/>
              <a:gd name="T72" fmla="*/ 1820 w 7374"/>
              <a:gd name="T73" fmla="*/ 380 h 433"/>
              <a:gd name="T74" fmla="*/ 1916 w 7374"/>
              <a:gd name="T75" fmla="*/ 262 h 433"/>
              <a:gd name="T76" fmla="*/ 2398 w 7374"/>
              <a:gd name="T77" fmla="*/ 380 h 433"/>
              <a:gd name="T78" fmla="*/ 2321 w 7374"/>
              <a:gd name="T79" fmla="*/ 8 h 433"/>
              <a:gd name="T80" fmla="*/ 2535 w 7374"/>
              <a:gd name="T81" fmla="*/ 132 h 433"/>
              <a:gd name="T82" fmla="*/ 2710 w 7374"/>
              <a:gd name="T83" fmla="*/ 425 h 433"/>
              <a:gd name="T84" fmla="*/ 2976 w 7374"/>
              <a:gd name="T85" fmla="*/ 132 h 433"/>
              <a:gd name="T86" fmla="*/ 2787 w 7374"/>
              <a:gd name="T87" fmla="*/ 48 h 433"/>
              <a:gd name="T88" fmla="*/ 3414 w 7374"/>
              <a:gd name="T89" fmla="*/ 324 h 433"/>
              <a:gd name="T90" fmla="*/ 3417 w 7374"/>
              <a:gd name="T91" fmla="*/ 51 h 433"/>
              <a:gd name="T92" fmla="*/ 3414 w 7374"/>
              <a:gd name="T93" fmla="*/ 324 h 433"/>
              <a:gd name="T94" fmla="*/ 3663 w 7374"/>
              <a:gd name="T95" fmla="*/ 8 h 433"/>
              <a:gd name="T96" fmla="*/ 3663 w 7374"/>
              <a:gd name="T97" fmla="*/ 425 h 433"/>
              <a:gd name="T98" fmla="*/ 3813 w 7374"/>
              <a:gd name="T99" fmla="*/ 425 h 433"/>
              <a:gd name="T100" fmla="*/ 3813 w 7374"/>
              <a:gd name="T101" fmla="*/ 8 h 433"/>
              <a:gd name="T102" fmla="*/ 4292 w 7374"/>
              <a:gd name="T103" fmla="*/ 249 h 433"/>
              <a:gd name="T104" fmla="*/ 4281 w 7374"/>
              <a:gd name="T105" fmla="*/ 48 h 433"/>
              <a:gd name="T106" fmla="*/ 4096 w 7374"/>
              <a:gd name="T107" fmla="*/ 379 h 433"/>
              <a:gd name="T108" fmla="*/ 4148 w 7374"/>
              <a:gd name="T109" fmla="*/ 385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374" h="433">
                <a:moveTo>
                  <a:pt x="2146" y="0"/>
                </a:moveTo>
                <a:cubicBezTo>
                  <a:pt x="2164" y="0"/>
                  <a:pt x="2179" y="15"/>
                  <a:pt x="2179" y="33"/>
                </a:cubicBezTo>
                <a:cubicBezTo>
                  <a:pt x="2179" y="51"/>
                  <a:pt x="2164" y="65"/>
                  <a:pt x="2146" y="65"/>
                </a:cubicBezTo>
                <a:cubicBezTo>
                  <a:pt x="2128" y="65"/>
                  <a:pt x="2114" y="51"/>
                  <a:pt x="2114" y="33"/>
                </a:cubicBezTo>
                <a:cubicBezTo>
                  <a:pt x="2114" y="15"/>
                  <a:pt x="2128" y="0"/>
                  <a:pt x="2146" y="0"/>
                </a:cubicBezTo>
                <a:close/>
                <a:moveTo>
                  <a:pt x="1782" y="33"/>
                </a:moveTo>
                <a:cubicBezTo>
                  <a:pt x="1782" y="51"/>
                  <a:pt x="1796" y="65"/>
                  <a:pt x="1814" y="65"/>
                </a:cubicBezTo>
                <a:cubicBezTo>
                  <a:pt x="1833" y="65"/>
                  <a:pt x="1847" y="51"/>
                  <a:pt x="1847" y="33"/>
                </a:cubicBezTo>
                <a:cubicBezTo>
                  <a:pt x="1847" y="15"/>
                  <a:pt x="1833" y="0"/>
                  <a:pt x="1814" y="0"/>
                </a:cubicBezTo>
                <a:cubicBezTo>
                  <a:pt x="1796" y="0"/>
                  <a:pt x="1782" y="15"/>
                  <a:pt x="1782" y="33"/>
                </a:cubicBezTo>
                <a:close/>
                <a:moveTo>
                  <a:pt x="5910" y="298"/>
                </a:moveTo>
                <a:cubicBezTo>
                  <a:pt x="5910" y="387"/>
                  <a:pt x="5984" y="433"/>
                  <a:pt x="6054" y="433"/>
                </a:cubicBezTo>
                <a:cubicBezTo>
                  <a:pt x="6157" y="433"/>
                  <a:pt x="6198" y="366"/>
                  <a:pt x="6198" y="305"/>
                </a:cubicBezTo>
                <a:cubicBezTo>
                  <a:pt x="6198" y="53"/>
                  <a:pt x="6198" y="53"/>
                  <a:pt x="6198" y="53"/>
                </a:cubicBezTo>
                <a:cubicBezTo>
                  <a:pt x="6224" y="8"/>
                  <a:pt x="6224" y="8"/>
                  <a:pt x="6224" y="8"/>
                </a:cubicBezTo>
                <a:cubicBezTo>
                  <a:pt x="6127" y="8"/>
                  <a:pt x="6127" y="8"/>
                  <a:pt x="6127" y="8"/>
                </a:cubicBezTo>
                <a:cubicBezTo>
                  <a:pt x="6152" y="53"/>
                  <a:pt x="6152" y="53"/>
                  <a:pt x="6152" y="53"/>
                </a:cubicBezTo>
                <a:cubicBezTo>
                  <a:pt x="6152" y="305"/>
                  <a:pt x="6152" y="305"/>
                  <a:pt x="6152" y="305"/>
                </a:cubicBezTo>
                <a:cubicBezTo>
                  <a:pt x="6152" y="377"/>
                  <a:pt x="6097" y="397"/>
                  <a:pt x="6060" y="397"/>
                </a:cubicBezTo>
                <a:cubicBezTo>
                  <a:pt x="6017" y="397"/>
                  <a:pt x="5967" y="369"/>
                  <a:pt x="5967" y="305"/>
                </a:cubicBezTo>
                <a:cubicBezTo>
                  <a:pt x="5967" y="53"/>
                  <a:pt x="5967" y="53"/>
                  <a:pt x="5967" y="53"/>
                </a:cubicBezTo>
                <a:cubicBezTo>
                  <a:pt x="5992" y="8"/>
                  <a:pt x="5992" y="8"/>
                  <a:pt x="5992" y="8"/>
                </a:cubicBezTo>
                <a:cubicBezTo>
                  <a:pt x="5884" y="8"/>
                  <a:pt x="5884" y="8"/>
                  <a:pt x="5884" y="8"/>
                </a:cubicBezTo>
                <a:cubicBezTo>
                  <a:pt x="5910" y="53"/>
                  <a:pt x="5910" y="53"/>
                  <a:pt x="5910" y="53"/>
                </a:cubicBezTo>
                <a:lnTo>
                  <a:pt x="5910" y="298"/>
                </a:lnTo>
                <a:close/>
                <a:moveTo>
                  <a:pt x="6795" y="8"/>
                </a:moveTo>
                <a:cubicBezTo>
                  <a:pt x="6708" y="8"/>
                  <a:pt x="6708" y="8"/>
                  <a:pt x="6708" y="8"/>
                </a:cubicBezTo>
                <a:cubicBezTo>
                  <a:pt x="6597" y="262"/>
                  <a:pt x="6597" y="262"/>
                  <a:pt x="6597" y="262"/>
                </a:cubicBezTo>
                <a:cubicBezTo>
                  <a:pt x="6487" y="8"/>
                  <a:pt x="6487" y="8"/>
                  <a:pt x="6487" y="8"/>
                </a:cubicBezTo>
                <a:cubicBezTo>
                  <a:pt x="6390" y="8"/>
                  <a:pt x="6390" y="8"/>
                  <a:pt x="6390" y="8"/>
                </a:cubicBezTo>
                <a:cubicBezTo>
                  <a:pt x="6415" y="53"/>
                  <a:pt x="6415" y="53"/>
                  <a:pt x="6415" y="53"/>
                </a:cubicBezTo>
                <a:cubicBezTo>
                  <a:pt x="6415" y="380"/>
                  <a:pt x="6415" y="380"/>
                  <a:pt x="6415" y="380"/>
                </a:cubicBezTo>
                <a:cubicBezTo>
                  <a:pt x="6390" y="425"/>
                  <a:pt x="6390" y="425"/>
                  <a:pt x="6390" y="425"/>
                </a:cubicBezTo>
                <a:cubicBezTo>
                  <a:pt x="6492" y="425"/>
                  <a:pt x="6492" y="425"/>
                  <a:pt x="6492" y="425"/>
                </a:cubicBezTo>
                <a:cubicBezTo>
                  <a:pt x="6467" y="380"/>
                  <a:pt x="6467" y="380"/>
                  <a:pt x="6467" y="380"/>
                </a:cubicBezTo>
                <a:cubicBezTo>
                  <a:pt x="6467" y="99"/>
                  <a:pt x="6467" y="99"/>
                  <a:pt x="6467" y="99"/>
                </a:cubicBezTo>
                <a:cubicBezTo>
                  <a:pt x="6583" y="364"/>
                  <a:pt x="6583" y="364"/>
                  <a:pt x="6583" y="364"/>
                </a:cubicBezTo>
                <a:cubicBezTo>
                  <a:pt x="6602" y="364"/>
                  <a:pt x="6602" y="364"/>
                  <a:pt x="6602" y="364"/>
                </a:cubicBezTo>
                <a:cubicBezTo>
                  <a:pt x="6718" y="99"/>
                  <a:pt x="6718" y="99"/>
                  <a:pt x="6718" y="99"/>
                </a:cubicBezTo>
                <a:cubicBezTo>
                  <a:pt x="6718" y="380"/>
                  <a:pt x="6718" y="380"/>
                  <a:pt x="6718" y="380"/>
                </a:cubicBezTo>
                <a:cubicBezTo>
                  <a:pt x="6692" y="425"/>
                  <a:pt x="6692" y="425"/>
                  <a:pt x="6692" y="425"/>
                </a:cubicBezTo>
                <a:cubicBezTo>
                  <a:pt x="6795" y="425"/>
                  <a:pt x="6795" y="425"/>
                  <a:pt x="6795" y="425"/>
                </a:cubicBezTo>
                <a:cubicBezTo>
                  <a:pt x="6769" y="380"/>
                  <a:pt x="6769" y="380"/>
                  <a:pt x="6769" y="380"/>
                </a:cubicBezTo>
                <a:cubicBezTo>
                  <a:pt x="6769" y="53"/>
                  <a:pt x="6769" y="53"/>
                  <a:pt x="6769" y="53"/>
                </a:cubicBezTo>
                <a:lnTo>
                  <a:pt x="6795" y="8"/>
                </a:lnTo>
                <a:close/>
                <a:moveTo>
                  <a:pt x="7374" y="8"/>
                </a:moveTo>
                <a:cubicBezTo>
                  <a:pt x="7287" y="8"/>
                  <a:pt x="7287" y="8"/>
                  <a:pt x="7287" y="8"/>
                </a:cubicBezTo>
                <a:cubicBezTo>
                  <a:pt x="7176" y="262"/>
                  <a:pt x="7176" y="262"/>
                  <a:pt x="7176" y="262"/>
                </a:cubicBezTo>
                <a:cubicBezTo>
                  <a:pt x="7065" y="8"/>
                  <a:pt x="7065" y="8"/>
                  <a:pt x="7065" y="8"/>
                </a:cubicBezTo>
                <a:cubicBezTo>
                  <a:pt x="6969" y="8"/>
                  <a:pt x="6969" y="8"/>
                  <a:pt x="6969" y="8"/>
                </a:cubicBezTo>
                <a:cubicBezTo>
                  <a:pt x="6994" y="53"/>
                  <a:pt x="6994" y="53"/>
                  <a:pt x="6994" y="53"/>
                </a:cubicBezTo>
                <a:cubicBezTo>
                  <a:pt x="6994" y="380"/>
                  <a:pt x="6994" y="380"/>
                  <a:pt x="6994" y="380"/>
                </a:cubicBezTo>
                <a:cubicBezTo>
                  <a:pt x="6969" y="425"/>
                  <a:pt x="6969" y="425"/>
                  <a:pt x="6969" y="425"/>
                </a:cubicBezTo>
                <a:cubicBezTo>
                  <a:pt x="7071" y="425"/>
                  <a:pt x="7071" y="425"/>
                  <a:pt x="7071" y="425"/>
                </a:cubicBezTo>
                <a:cubicBezTo>
                  <a:pt x="7046" y="380"/>
                  <a:pt x="7046" y="380"/>
                  <a:pt x="7046" y="380"/>
                </a:cubicBezTo>
                <a:cubicBezTo>
                  <a:pt x="7046" y="99"/>
                  <a:pt x="7046" y="99"/>
                  <a:pt x="7046" y="99"/>
                </a:cubicBezTo>
                <a:cubicBezTo>
                  <a:pt x="7162" y="364"/>
                  <a:pt x="7162" y="364"/>
                  <a:pt x="7162" y="364"/>
                </a:cubicBezTo>
                <a:cubicBezTo>
                  <a:pt x="7181" y="364"/>
                  <a:pt x="7181" y="364"/>
                  <a:pt x="7181" y="364"/>
                </a:cubicBezTo>
                <a:cubicBezTo>
                  <a:pt x="7296" y="99"/>
                  <a:pt x="7296" y="99"/>
                  <a:pt x="7296" y="99"/>
                </a:cubicBezTo>
                <a:cubicBezTo>
                  <a:pt x="7296" y="380"/>
                  <a:pt x="7296" y="380"/>
                  <a:pt x="7296" y="380"/>
                </a:cubicBezTo>
                <a:cubicBezTo>
                  <a:pt x="7271" y="425"/>
                  <a:pt x="7271" y="425"/>
                  <a:pt x="7271" y="425"/>
                </a:cubicBezTo>
                <a:cubicBezTo>
                  <a:pt x="7374" y="425"/>
                  <a:pt x="7374" y="425"/>
                  <a:pt x="7374" y="425"/>
                </a:cubicBezTo>
                <a:cubicBezTo>
                  <a:pt x="7348" y="380"/>
                  <a:pt x="7348" y="380"/>
                  <a:pt x="7348" y="380"/>
                </a:cubicBezTo>
                <a:cubicBezTo>
                  <a:pt x="7348" y="53"/>
                  <a:pt x="7348" y="53"/>
                  <a:pt x="7348" y="53"/>
                </a:cubicBezTo>
                <a:lnTo>
                  <a:pt x="7374" y="8"/>
                </a:lnTo>
                <a:close/>
                <a:moveTo>
                  <a:pt x="5712" y="8"/>
                </a:moveTo>
                <a:cubicBezTo>
                  <a:pt x="5625" y="8"/>
                  <a:pt x="5625" y="8"/>
                  <a:pt x="5625" y="8"/>
                </a:cubicBezTo>
                <a:cubicBezTo>
                  <a:pt x="5514" y="262"/>
                  <a:pt x="5514" y="262"/>
                  <a:pt x="5514" y="262"/>
                </a:cubicBezTo>
                <a:cubicBezTo>
                  <a:pt x="5404" y="8"/>
                  <a:pt x="5404" y="8"/>
                  <a:pt x="5404" y="8"/>
                </a:cubicBezTo>
                <a:cubicBezTo>
                  <a:pt x="5307" y="8"/>
                  <a:pt x="5307" y="8"/>
                  <a:pt x="5307" y="8"/>
                </a:cubicBezTo>
                <a:cubicBezTo>
                  <a:pt x="5332" y="53"/>
                  <a:pt x="5332" y="53"/>
                  <a:pt x="5332" y="53"/>
                </a:cubicBezTo>
                <a:cubicBezTo>
                  <a:pt x="5332" y="380"/>
                  <a:pt x="5332" y="380"/>
                  <a:pt x="5332" y="380"/>
                </a:cubicBezTo>
                <a:cubicBezTo>
                  <a:pt x="5307" y="425"/>
                  <a:pt x="5307" y="425"/>
                  <a:pt x="5307" y="425"/>
                </a:cubicBezTo>
                <a:cubicBezTo>
                  <a:pt x="5409" y="425"/>
                  <a:pt x="5409" y="425"/>
                  <a:pt x="5409" y="425"/>
                </a:cubicBezTo>
                <a:cubicBezTo>
                  <a:pt x="5384" y="380"/>
                  <a:pt x="5384" y="380"/>
                  <a:pt x="5384" y="380"/>
                </a:cubicBezTo>
                <a:cubicBezTo>
                  <a:pt x="5384" y="99"/>
                  <a:pt x="5384" y="99"/>
                  <a:pt x="5384" y="99"/>
                </a:cubicBezTo>
                <a:cubicBezTo>
                  <a:pt x="5500" y="364"/>
                  <a:pt x="5500" y="364"/>
                  <a:pt x="5500" y="364"/>
                </a:cubicBezTo>
                <a:cubicBezTo>
                  <a:pt x="5519" y="364"/>
                  <a:pt x="5519" y="364"/>
                  <a:pt x="5519" y="364"/>
                </a:cubicBezTo>
                <a:cubicBezTo>
                  <a:pt x="5635" y="99"/>
                  <a:pt x="5635" y="99"/>
                  <a:pt x="5635" y="99"/>
                </a:cubicBezTo>
                <a:cubicBezTo>
                  <a:pt x="5635" y="380"/>
                  <a:pt x="5635" y="380"/>
                  <a:pt x="5635" y="380"/>
                </a:cubicBezTo>
                <a:cubicBezTo>
                  <a:pt x="5609" y="425"/>
                  <a:pt x="5609" y="425"/>
                  <a:pt x="5609" y="425"/>
                </a:cubicBezTo>
                <a:cubicBezTo>
                  <a:pt x="5712" y="425"/>
                  <a:pt x="5712" y="425"/>
                  <a:pt x="5712" y="425"/>
                </a:cubicBezTo>
                <a:cubicBezTo>
                  <a:pt x="5687" y="380"/>
                  <a:pt x="5687" y="380"/>
                  <a:pt x="5687" y="380"/>
                </a:cubicBezTo>
                <a:cubicBezTo>
                  <a:pt x="5687" y="53"/>
                  <a:pt x="5687" y="53"/>
                  <a:pt x="5687" y="53"/>
                </a:cubicBezTo>
                <a:lnTo>
                  <a:pt x="5712" y="8"/>
                </a:lnTo>
                <a:close/>
                <a:moveTo>
                  <a:pt x="5157" y="207"/>
                </a:moveTo>
                <a:cubicBezTo>
                  <a:pt x="4954" y="207"/>
                  <a:pt x="4954" y="207"/>
                  <a:pt x="4954" y="207"/>
                </a:cubicBezTo>
                <a:cubicBezTo>
                  <a:pt x="4954" y="254"/>
                  <a:pt x="4954" y="254"/>
                  <a:pt x="4954" y="254"/>
                </a:cubicBezTo>
                <a:cubicBezTo>
                  <a:pt x="5157" y="254"/>
                  <a:pt x="5157" y="254"/>
                  <a:pt x="5157" y="254"/>
                </a:cubicBezTo>
                <a:lnTo>
                  <a:pt x="5157" y="207"/>
                </a:lnTo>
                <a:close/>
                <a:moveTo>
                  <a:pt x="4530" y="95"/>
                </a:moveTo>
                <a:cubicBezTo>
                  <a:pt x="4743" y="425"/>
                  <a:pt x="4743" y="425"/>
                  <a:pt x="4743" y="425"/>
                </a:cubicBezTo>
                <a:cubicBezTo>
                  <a:pt x="4780" y="425"/>
                  <a:pt x="4780" y="425"/>
                  <a:pt x="4780" y="425"/>
                </a:cubicBezTo>
                <a:cubicBezTo>
                  <a:pt x="4780" y="53"/>
                  <a:pt x="4780" y="53"/>
                  <a:pt x="4780" y="53"/>
                </a:cubicBezTo>
                <a:cubicBezTo>
                  <a:pt x="4805" y="8"/>
                  <a:pt x="4805" y="8"/>
                  <a:pt x="4805" y="8"/>
                </a:cubicBezTo>
                <a:cubicBezTo>
                  <a:pt x="4705" y="8"/>
                  <a:pt x="4705" y="8"/>
                  <a:pt x="4705" y="8"/>
                </a:cubicBezTo>
                <a:cubicBezTo>
                  <a:pt x="4731" y="53"/>
                  <a:pt x="4731" y="53"/>
                  <a:pt x="4731" y="53"/>
                </a:cubicBezTo>
                <a:cubicBezTo>
                  <a:pt x="4731" y="316"/>
                  <a:pt x="4731" y="316"/>
                  <a:pt x="4731" y="316"/>
                </a:cubicBezTo>
                <a:cubicBezTo>
                  <a:pt x="4536" y="8"/>
                  <a:pt x="4536" y="8"/>
                  <a:pt x="4536" y="8"/>
                </a:cubicBezTo>
                <a:cubicBezTo>
                  <a:pt x="4456" y="8"/>
                  <a:pt x="4456" y="8"/>
                  <a:pt x="4456" y="8"/>
                </a:cubicBezTo>
                <a:cubicBezTo>
                  <a:pt x="4481" y="53"/>
                  <a:pt x="4481" y="53"/>
                  <a:pt x="4481" y="53"/>
                </a:cubicBezTo>
                <a:cubicBezTo>
                  <a:pt x="4481" y="380"/>
                  <a:pt x="4481" y="380"/>
                  <a:pt x="4481" y="380"/>
                </a:cubicBezTo>
                <a:cubicBezTo>
                  <a:pt x="4456" y="425"/>
                  <a:pt x="4456" y="425"/>
                  <a:pt x="4456" y="425"/>
                </a:cubicBezTo>
                <a:cubicBezTo>
                  <a:pt x="4556" y="425"/>
                  <a:pt x="4556" y="425"/>
                  <a:pt x="4556" y="425"/>
                </a:cubicBezTo>
                <a:cubicBezTo>
                  <a:pt x="4530" y="379"/>
                  <a:pt x="4530" y="379"/>
                  <a:pt x="4530" y="379"/>
                </a:cubicBezTo>
                <a:lnTo>
                  <a:pt x="4530" y="95"/>
                </a:lnTo>
                <a:close/>
                <a:moveTo>
                  <a:pt x="228" y="425"/>
                </a:moveTo>
                <a:cubicBezTo>
                  <a:pt x="315" y="425"/>
                  <a:pt x="315" y="425"/>
                  <a:pt x="315" y="425"/>
                </a:cubicBezTo>
                <a:cubicBezTo>
                  <a:pt x="263" y="381"/>
                  <a:pt x="263" y="381"/>
                  <a:pt x="263" y="381"/>
                </a:cubicBezTo>
                <a:cubicBezTo>
                  <a:pt x="183" y="237"/>
                  <a:pt x="183" y="237"/>
                  <a:pt x="183" y="237"/>
                </a:cubicBezTo>
                <a:cubicBezTo>
                  <a:pt x="246" y="226"/>
                  <a:pt x="278" y="179"/>
                  <a:pt x="278" y="123"/>
                </a:cubicBezTo>
                <a:cubicBezTo>
                  <a:pt x="278" y="55"/>
                  <a:pt x="231" y="8"/>
                  <a:pt x="152" y="8"/>
                </a:cubicBezTo>
                <a:cubicBezTo>
                  <a:pt x="0" y="8"/>
                  <a:pt x="0" y="8"/>
                  <a:pt x="0" y="8"/>
                </a:cubicBezTo>
                <a:cubicBezTo>
                  <a:pt x="26" y="53"/>
                  <a:pt x="26" y="53"/>
                  <a:pt x="26" y="53"/>
                </a:cubicBezTo>
                <a:cubicBezTo>
                  <a:pt x="26" y="380"/>
                  <a:pt x="26" y="380"/>
                  <a:pt x="26" y="380"/>
                </a:cubicBezTo>
                <a:cubicBezTo>
                  <a:pt x="0" y="425"/>
                  <a:pt x="0" y="425"/>
                  <a:pt x="0" y="425"/>
                </a:cubicBezTo>
                <a:cubicBezTo>
                  <a:pt x="103" y="425"/>
                  <a:pt x="103" y="425"/>
                  <a:pt x="103" y="425"/>
                </a:cubicBezTo>
                <a:cubicBezTo>
                  <a:pt x="78" y="380"/>
                  <a:pt x="78" y="380"/>
                  <a:pt x="78" y="380"/>
                </a:cubicBezTo>
                <a:cubicBezTo>
                  <a:pt x="78" y="240"/>
                  <a:pt x="78" y="240"/>
                  <a:pt x="78" y="240"/>
                </a:cubicBezTo>
                <a:cubicBezTo>
                  <a:pt x="128" y="240"/>
                  <a:pt x="128" y="240"/>
                  <a:pt x="128" y="240"/>
                </a:cubicBezTo>
                <a:cubicBezTo>
                  <a:pt x="205" y="381"/>
                  <a:pt x="205" y="381"/>
                  <a:pt x="205" y="381"/>
                </a:cubicBezTo>
                <a:lnTo>
                  <a:pt x="228" y="425"/>
                </a:lnTo>
                <a:close/>
                <a:moveTo>
                  <a:pt x="78" y="206"/>
                </a:moveTo>
                <a:cubicBezTo>
                  <a:pt x="78" y="48"/>
                  <a:pt x="78" y="48"/>
                  <a:pt x="78" y="48"/>
                </a:cubicBezTo>
                <a:cubicBezTo>
                  <a:pt x="152" y="48"/>
                  <a:pt x="152" y="48"/>
                  <a:pt x="152" y="48"/>
                </a:cubicBezTo>
                <a:cubicBezTo>
                  <a:pt x="201" y="48"/>
                  <a:pt x="227" y="81"/>
                  <a:pt x="227" y="123"/>
                </a:cubicBezTo>
                <a:cubicBezTo>
                  <a:pt x="227" y="171"/>
                  <a:pt x="200" y="206"/>
                  <a:pt x="152" y="206"/>
                </a:cubicBezTo>
                <a:lnTo>
                  <a:pt x="78" y="206"/>
                </a:lnTo>
                <a:close/>
                <a:moveTo>
                  <a:pt x="837" y="216"/>
                </a:moveTo>
                <a:cubicBezTo>
                  <a:pt x="837" y="97"/>
                  <a:pt x="751" y="0"/>
                  <a:pt x="632" y="0"/>
                </a:cubicBezTo>
                <a:cubicBezTo>
                  <a:pt x="512" y="0"/>
                  <a:pt x="427" y="97"/>
                  <a:pt x="427" y="216"/>
                </a:cubicBezTo>
                <a:cubicBezTo>
                  <a:pt x="427" y="336"/>
                  <a:pt x="512" y="433"/>
                  <a:pt x="632" y="433"/>
                </a:cubicBezTo>
                <a:cubicBezTo>
                  <a:pt x="751" y="433"/>
                  <a:pt x="837" y="336"/>
                  <a:pt x="837" y="216"/>
                </a:cubicBezTo>
                <a:close/>
                <a:moveTo>
                  <a:pt x="785" y="239"/>
                </a:moveTo>
                <a:cubicBezTo>
                  <a:pt x="785" y="322"/>
                  <a:pt x="729" y="391"/>
                  <a:pt x="647" y="391"/>
                </a:cubicBezTo>
                <a:cubicBezTo>
                  <a:pt x="551" y="391"/>
                  <a:pt x="478" y="293"/>
                  <a:pt x="478" y="197"/>
                </a:cubicBezTo>
                <a:cubicBezTo>
                  <a:pt x="478" y="95"/>
                  <a:pt x="548" y="42"/>
                  <a:pt x="617" y="42"/>
                </a:cubicBezTo>
                <a:cubicBezTo>
                  <a:pt x="698" y="42"/>
                  <a:pt x="785" y="120"/>
                  <a:pt x="785" y="239"/>
                </a:cubicBezTo>
                <a:close/>
                <a:moveTo>
                  <a:pt x="1050" y="48"/>
                </a:moveTo>
                <a:cubicBezTo>
                  <a:pt x="1053" y="53"/>
                  <a:pt x="1053" y="53"/>
                  <a:pt x="1053" y="53"/>
                </a:cubicBezTo>
                <a:cubicBezTo>
                  <a:pt x="1053" y="380"/>
                  <a:pt x="1053" y="380"/>
                  <a:pt x="1053" y="380"/>
                </a:cubicBezTo>
                <a:cubicBezTo>
                  <a:pt x="1028" y="425"/>
                  <a:pt x="1028" y="425"/>
                  <a:pt x="1028" y="425"/>
                </a:cubicBezTo>
                <a:cubicBezTo>
                  <a:pt x="1130" y="425"/>
                  <a:pt x="1130" y="425"/>
                  <a:pt x="1130" y="425"/>
                </a:cubicBezTo>
                <a:cubicBezTo>
                  <a:pt x="1105" y="380"/>
                  <a:pt x="1105" y="380"/>
                  <a:pt x="1105" y="380"/>
                </a:cubicBezTo>
                <a:cubicBezTo>
                  <a:pt x="1105" y="53"/>
                  <a:pt x="1105" y="53"/>
                  <a:pt x="1105" y="53"/>
                </a:cubicBezTo>
                <a:cubicBezTo>
                  <a:pt x="1108" y="48"/>
                  <a:pt x="1108" y="48"/>
                  <a:pt x="1108" y="48"/>
                </a:cubicBezTo>
                <a:cubicBezTo>
                  <a:pt x="1184" y="48"/>
                  <a:pt x="1184" y="48"/>
                  <a:pt x="1184" y="48"/>
                </a:cubicBezTo>
                <a:cubicBezTo>
                  <a:pt x="1227" y="66"/>
                  <a:pt x="1227" y="66"/>
                  <a:pt x="1227" y="66"/>
                </a:cubicBezTo>
                <a:cubicBezTo>
                  <a:pt x="1219" y="8"/>
                  <a:pt x="1219" y="8"/>
                  <a:pt x="1219" y="8"/>
                </a:cubicBezTo>
                <a:cubicBezTo>
                  <a:pt x="938" y="8"/>
                  <a:pt x="938" y="8"/>
                  <a:pt x="938" y="8"/>
                </a:cubicBezTo>
                <a:cubicBezTo>
                  <a:pt x="931" y="66"/>
                  <a:pt x="931" y="66"/>
                  <a:pt x="931" y="66"/>
                </a:cubicBezTo>
                <a:cubicBezTo>
                  <a:pt x="974" y="48"/>
                  <a:pt x="974" y="48"/>
                  <a:pt x="974" y="48"/>
                </a:cubicBezTo>
                <a:lnTo>
                  <a:pt x="1050" y="48"/>
                </a:lnTo>
                <a:close/>
                <a:moveTo>
                  <a:pt x="1524" y="178"/>
                </a:moveTo>
                <a:cubicBezTo>
                  <a:pt x="1615" y="53"/>
                  <a:pt x="1615" y="53"/>
                  <a:pt x="1615" y="53"/>
                </a:cubicBezTo>
                <a:cubicBezTo>
                  <a:pt x="1674" y="8"/>
                  <a:pt x="1674" y="8"/>
                  <a:pt x="1674" y="8"/>
                </a:cubicBezTo>
                <a:cubicBezTo>
                  <a:pt x="1565" y="8"/>
                  <a:pt x="1565" y="8"/>
                  <a:pt x="1565" y="8"/>
                </a:cubicBezTo>
                <a:cubicBezTo>
                  <a:pt x="1565" y="43"/>
                  <a:pt x="1565" y="43"/>
                  <a:pt x="1565" y="43"/>
                </a:cubicBezTo>
                <a:cubicBezTo>
                  <a:pt x="1437" y="216"/>
                  <a:pt x="1437" y="216"/>
                  <a:pt x="1437" y="216"/>
                </a:cubicBezTo>
                <a:cubicBezTo>
                  <a:pt x="1437" y="53"/>
                  <a:pt x="1437" y="53"/>
                  <a:pt x="1437" y="53"/>
                </a:cubicBezTo>
                <a:cubicBezTo>
                  <a:pt x="1462" y="8"/>
                  <a:pt x="1462" y="8"/>
                  <a:pt x="1462" y="8"/>
                </a:cubicBezTo>
                <a:cubicBezTo>
                  <a:pt x="1360" y="8"/>
                  <a:pt x="1360" y="8"/>
                  <a:pt x="1360" y="8"/>
                </a:cubicBezTo>
                <a:cubicBezTo>
                  <a:pt x="1385" y="53"/>
                  <a:pt x="1385" y="53"/>
                  <a:pt x="1385" y="53"/>
                </a:cubicBezTo>
                <a:cubicBezTo>
                  <a:pt x="1385" y="380"/>
                  <a:pt x="1385" y="380"/>
                  <a:pt x="1385" y="380"/>
                </a:cubicBezTo>
                <a:cubicBezTo>
                  <a:pt x="1360" y="425"/>
                  <a:pt x="1360" y="425"/>
                  <a:pt x="1360" y="425"/>
                </a:cubicBezTo>
                <a:cubicBezTo>
                  <a:pt x="1462" y="425"/>
                  <a:pt x="1462" y="425"/>
                  <a:pt x="1462" y="425"/>
                </a:cubicBezTo>
                <a:cubicBezTo>
                  <a:pt x="1437" y="380"/>
                  <a:pt x="1437" y="380"/>
                  <a:pt x="1437" y="380"/>
                </a:cubicBezTo>
                <a:cubicBezTo>
                  <a:pt x="1437" y="295"/>
                  <a:pt x="1437" y="295"/>
                  <a:pt x="1437" y="295"/>
                </a:cubicBezTo>
                <a:cubicBezTo>
                  <a:pt x="1491" y="222"/>
                  <a:pt x="1491" y="222"/>
                  <a:pt x="1491" y="222"/>
                </a:cubicBezTo>
                <a:cubicBezTo>
                  <a:pt x="1585" y="383"/>
                  <a:pt x="1585" y="383"/>
                  <a:pt x="1585" y="383"/>
                </a:cubicBezTo>
                <a:cubicBezTo>
                  <a:pt x="1584" y="425"/>
                  <a:pt x="1584" y="425"/>
                  <a:pt x="1584" y="425"/>
                </a:cubicBezTo>
                <a:cubicBezTo>
                  <a:pt x="1693" y="425"/>
                  <a:pt x="1693" y="425"/>
                  <a:pt x="1693" y="425"/>
                </a:cubicBezTo>
                <a:cubicBezTo>
                  <a:pt x="1642" y="381"/>
                  <a:pt x="1642" y="381"/>
                  <a:pt x="1642" y="381"/>
                </a:cubicBezTo>
                <a:lnTo>
                  <a:pt x="1524" y="178"/>
                </a:lnTo>
                <a:close/>
                <a:moveTo>
                  <a:pt x="1916" y="262"/>
                </a:moveTo>
                <a:cubicBezTo>
                  <a:pt x="1978" y="99"/>
                  <a:pt x="1978" y="99"/>
                  <a:pt x="1978" y="99"/>
                </a:cubicBezTo>
                <a:cubicBezTo>
                  <a:pt x="2039" y="262"/>
                  <a:pt x="2039" y="262"/>
                  <a:pt x="2039" y="262"/>
                </a:cubicBezTo>
                <a:cubicBezTo>
                  <a:pt x="2054" y="302"/>
                  <a:pt x="2054" y="302"/>
                  <a:pt x="2054" y="302"/>
                </a:cubicBezTo>
                <a:cubicBezTo>
                  <a:pt x="2084" y="380"/>
                  <a:pt x="2084" y="380"/>
                  <a:pt x="2084" y="380"/>
                </a:cubicBezTo>
                <a:cubicBezTo>
                  <a:pt x="2074" y="425"/>
                  <a:pt x="2074" y="425"/>
                  <a:pt x="2074" y="425"/>
                </a:cubicBezTo>
                <a:cubicBezTo>
                  <a:pt x="2182" y="425"/>
                  <a:pt x="2182" y="425"/>
                  <a:pt x="2182" y="425"/>
                </a:cubicBezTo>
                <a:cubicBezTo>
                  <a:pt x="2141" y="381"/>
                  <a:pt x="2141" y="381"/>
                  <a:pt x="2141" y="381"/>
                </a:cubicBezTo>
                <a:cubicBezTo>
                  <a:pt x="1996" y="3"/>
                  <a:pt x="1996" y="3"/>
                  <a:pt x="1996" y="3"/>
                </a:cubicBezTo>
                <a:cubicBezTo>
                  <a:pt x="1949" y="43"/>
                  <a:pt x="1949" y="43"/>
                  <a:pt x="1949" y="43"/>
                </a:cubicBezTo>
                <a:cubicBezTo>
                  <a:pt x="1820" y="380"/>
                  <a:pt x="1820" y="380"/>
                  <a:pt x="1820" y="380"/>
                </a:cubicBezTo>
                <a:cubicBezTo>
                  <a:pt x="1778" y="425"/>
                  <a:pt x="1778" y="425"/>
                  <a:pt x="1778" y="425"/>
                </a:cubicBezTo>
                <a:cubicBezTo>
                  <a:pt x="1882" y="425"/>
                  <a:pt x="1882" y="425"/>
                  <a:pt x="1882" y="425"/>
                </a:cubicBezTo>
                <a:cubicBezTo>
                  <a:pt x="1873" y="379"/>
                  <a:pt x="1873" y="379"/>
                  <a:pt x="1873" y="379"/>
                </a:cubicBezTo>
                <a:cubicBezTo>
                  <a:pt x="1902" y="302"/>
                  <a:pt x="1902" y="302"/>
                  <a:pt x="1902" y="302"/>
                </a:cubicBezTo>
                <a:lnTo>
                  <a:pt x="1916" y="262"/>
                </a:lnTo>
                <a:close/>
                <a:moveTo>
                  <a:pt x="2346" y="53"/>
                </a:moveTo>
                <a:cubicBezTo>
                  <a:pt x="2346" y="380"/>
                  <a:pt x="2346" y="380"/>
                  <a:pt x="2346" y="380"/>
                </a:cubicBezTo>
                <a:cubicBezTo>
                  <a:pt x="2321" y="425"/>
                  <a:pt x="2321" y="425"/>
                  <a:pt x="2321" y="425"/>
                </a:cubicBezTo>
                <a:cubicBezTo>
                  <a:pt x="2423" y="425"/>
                  <a:pt x="2423" y="425"/>
                  <a:pt x="2423" y="425"/>
                </a:cubicBezTo>
                <a:cubicBezTo>
                  <a:pt x="2398" y="380"/>
                  <a:pt x="2398" y="380"/>
                  <a:pt x="2398" y="380"/>
                </a:cubicBezTo>
                <a:cubicBezTo>
                  <a:pt x="2398" y="258"/>
                  <a:pt x="2398" y="258"/>
                  <a:pt x="2398" y="258"/>
                </a:cubicBezTo>
                <a:cubicBezTo>
                  <a:pt x="2461" y="258"/>
                  <a:pt x="2461" y="258"/>
                  <a:pt x="2461" y="258"/>
                </a:cubicBezTo>
                <a:cubicBezTo>
                  <a:pt x="2544" y="258"/>
                  <a:pt x="2587" y="196"/>
                  <a:pt x="2587" y="132"/>
                </a:cubicBezTo>
                <a:cubicBezTo>
                  <a:pt x="2587" y="64"/>
                  <a:pt x="2540" y="8"/>
                  <a:pt x="2461" y="8"/>
                </a:cubicBezTo>
                <a:cubicBezTo>
                  <a:pt x="2321" y="8"/>
                  <a:pt x="2321" y="8"/>
                  <a:pt x="2321" y="8"/>
                </a:cubicBezTo>
                <a:lnTo>
                  <a:pt x="2346" y="53"/>
                </a:lnTo>
                <a:close/>
                <a:moveTo>
                  <a:pt x="2398" y="224"/>
                </a:moveTo>
                <a:cubicBezTo>
                  <a:pt x="2398" y="48"/>
                  <a:pt x="2398" y="48"/>
                  <a:pt x="2398" y="48"/>
                </a:cubicBezTo>
                <a:cubicBezTo>
                  <a:pt x="2461" y="48"/>
                  <a:pt x="2461" y="48"/>
                  <a:pt x="2461" y="48"/>
                </a:cubicBezTo>
                <a:cubicBezTo>
                  <a:pt x="2510" y="48"/>
                  <a:pt x="2535" y="90"/>
                  <a:pt x="2535" y="132"/>
                </a:cubicBezTo>
                <a:cubicBezTo>
                  <a:pt x="2535" y="179"/>
                  <a:pt x="2508" y="224"/>
                  <a:pt x="2461" y="224"/>
                </a:cubicBezTo>
                <a:lnTo>
                  <a:pt x="2398" y="224"/>
                </a:lnTo>
                <a:close/>
                <a:moveTo>
                  <a:pt x="2736" y="53"/>
                </a:moveTo>
                <a:cubicBezTo>
                  <a:pt x="2736" y="380"/>
                  <a:pt x="2736" y="380"/>
                  <a:pt x="2736" y="380"/>
                </a:cubicBezTo>
                <a:cubicBezTo>
                  <a:pt x="2710" y="425"/>
                  <a:pt x="2710" y="425"/>
                  <a:pt x="2710" y="425"/>
                </a:cubicBezTo>
                <a:cubicBezTo>
                  <a:pt x="2813" y="425"/>
                  <a:pt x="2813" y="425"/>
                  <a:pt x="2813" y="425"/>
                </a:cubicBezTo>
                <a:cubicBezTo>
                  <a:pt x="2787" y="380"/>
                  <a:pt x="2787" y="380"/>
                  <a:pt x="2787" y="380"/>
                </a:cubicBezTo>
                <a:cubicBezTo>
                  <a:pt x="2787" y="258"/>
                  <a:pt x="2787" y="258"/>
                  <a:pt x="2787" y="258"/>
                </a:cubicBezTo>
                <a:cubicBezTo>
                  <a:pt x="2850" y="258"/>
                  <a:pt x="2850" y="258"/>
                  <a:pt x="2850" y="258"/>
                </a:cubicBezTo>
                <a:cubicBezTo>
                  <a:pt x="2934" y="258"/>
                  <a:pt x="2976" y="196"/>
                  <a:pt x="2976" y="132"/>
                </a:cubicBezTo>
                <a:cubicBezTo>
                  <a:pt x="2976" y="64"/>
                  <a:pt x="2929" y="8"/>
                  <a:pt x="2850" y="8"/>
                </a:cubicBezTo>
                <a:cubicBezTo>
                  <a:pt x="2710" y="8"/>
                  <a:pt x="2710" y="8"/>
                  <a:pt x="2710" y="8"/>
                </a:cubicBezTo>
                <a:lnTo>
                  <a:pt x="2736" y="53"/>
                </a:lnTo>
                <a:close/>
                <a:moveTo>
                  <a:pt x="2787" y="224"/>
                </a:moveTo>
                <a:cubicBezTo>
                  <a:pt x="2787" y="48"/>
                  <a:pt x="2787" y="48"/>
                  <a:pt x="2787" y="48"/>
                </a:cubicBezTo>
                <a:cubicBezTo>
                  <a:pt x="2850" y="48"/>
                  <a:pt x="2850" y="48"/>
                  <a:pt x="2850" y="48"/>
                </a:cubicBezTo>
                <a:cubicBezTo>
                  <a:pt x="2899" y="48"/>
                  <a:pt x="2925" y="90"/>
                  <a:pt x="2925" y="132"/>
                </a:cubicBezTo>
                <a:cubicBezTo>
                  <a:pt x="2925" y="179"/>
                  <a:pt x="2898" y="224"/>
                  <a:pt x="2850" y="224"/>
                </a:cubicBezTo>
                <a:lnTo>
                  <a:pt x="2787" y="224"/>
                </a:lnTo>
                <a:close/>
                <a:moveTo>
                  <a:pt x="3414" y="324"/>
                </a:moveTo>
                <a:cubicBezTo>
                  <a:pt x="3399" y="351"/>
                  <a:pt x="3375" y="371"/>
                  <a:pt x="3343" y="383"/>
                </a:cubicBezTo>
                <a:cubicBezTo>
                  <a:pt x="3258" y="414"/>
                  <a:pt x="3173" y="354"/>
                  <a:pt x="3142" y="268"/>
                </a:cubicBezTo>
                <a:cubicBezTo>
                  <a:pt x="3110" y="182"/>
                  <a:pt x="3137" y="81"/>
                  <a:pt x="3222" y="50"/>
                </a:cubicBezTo>
                <a:cubicBezTo>
                  <a:pt x="3291" y="25"/>
                  <a:pt x="3362" y="46"/>
                  <a:pt x="3396" y="134"/>
                </a:cubicBezTo>
                <a:cubicBezTo>
                  <a:pt x="3417" y="51"/>
                  <a:pt x="3417" y="51"/>
                  <a:pt x="3417" y="51"/>
                </a:cubicBezTo>
                <a:cubicBezTo>
                  <a:pt x="3382" y="19"/>
                  <a:pt x="3336" y="0"/>
                  <a:pt x="3283" y="0"/>
                </a:cubicBezTo>
                <a:cubicBezTo>
                  <a:pt x="3163" y="0"/>
                  <a:pt x="3078" y="97"/>
                  <a:pt x="3078" y="216"/>
                </a:cubicBezTo>
                <a:cubicBezTo>
                  <a:pt x="3078" y="336"/>
                  <a:pt x="3163" y="433"/>
                  <a:pt x="3283" y="433"/>
                </a:cubicBezTo>
                <a:cubicBezTo>
                  <a:pt x="3352" y="433"/>
                  <a:pt x="3409" y="400"/>
                  <a:pt x="3445" y="351"/>
                </a:cubicBezTo>
                <a:lnTo>
                  <a:pt x="3414" y="324"/>
                </a:lnTo>
                <a:close/>
                <a:moveTo>
                  <a:pt x="3838" y="53"/>
                </a:moveTo>
                <a:cubicBezTo>
                  <a:pt x="3838" y="191"/>
                  <a:pt x="3838" y="191"/>
                  <a:pt x="3838" y="191"/>
                </a:cubicBezTo>
                <a:cubicBezTo>
                  <a:pt x="3638" y="191"/>
                  <a:pt x="3638" y="191"/>
                  <a:pt x="3638" y="191"/>
                </a:cubicBezTo>
                <a:cubicBezTo>
                  <a:pt x="3638" y="53"/>
                  <a:pt x="3638" y="53"/>
                  <a:pt x="3638" y="53"/>
                </a:cubicBezTo>
                <a:cubicBezTo>
                  <a:pt x="3663" y="8"/>
                  <a:pt x="3663" y="8"/>
                  <a:pt x="3663" y="8"/>
                </a:cubicBezTo>
                <a:cubicBezTo>
                  <a:pt x="3561" y="8"/>
                  <a:pt x="3561" y="8"/>
                  <a:pt x="3561" y="8"/>
                </a:cubicBezTo>
                <a:cubicBezTo>
                  <a:pt x="3586" y="53"/>
                  <a:pt x="3586" y="53"/>
                  <a:pt x="3586" y="53"/>
                </a:cubicBezTo>
                <a:cubicBezTo>
                  <a:pt x="3586" y="380"/>
                  <a:pt x="3586" y="380"/>
                  <a:pt x="3586" y="380"/>
                </a:cubicBezTo>
                <a:cubicBezTo>
                  <a:pt x="3561" y="425"/>
                  <a:pt x="3561" y="425"/>
                  <a:pt x="3561" y="425"/>
                </a:cubicBezTo>
                <a:cubicBezTo>
                  <a:pt x="3663" y="425"/>
                  <a:pt x="3663" y="425"/>
                  <a:pt x="3663" y="425"/>
                </a:cubicBezTo>
                <a:cubicBezTo>
                  <a:pt x="3638" y="380"/>
                  <a:pt x="3638" y="380"/>
                  <a:pt x="3638" y="380"/>
                </a:cubicBezTo>
                <a:cubicBezTo>
                  <a:pt x="3638" y="231"/>
                  <a:pt x="3638" y="231"/>
                  <a:pt x="3638" y="231"/>
                </a:cubicBezTo>
                <a:cubicBezTo>
                  <a:pt x="3838" y="231"/>
                  <a:pt x="3838" y="231"/>
                  <a:pt x="3838" y="231"/>
                </a:cubicBezTo>
                <a:cubicBezTo>
                  <a:pt x="3838" y="380"/>
                  <a:pt x="3838" y="380"/>
                  <a:pt x="3838" y="380"/>
                </a:cubicBezTo>
                <a:cubicBezTo>
                  <a:pt x="3813" y="425"/>
                  <a:pt x="3813" y="425"/>
                  <a:pt x="3813" y="425"/>
                </a:cubicBezTo>
                <a:cubicBezTo>
                  <a:pt x="3915" y="425"/>
                  <a:pt x="3915" y="425"/>
                  <a:pt x="3915" y="425"/>
                </a:cubicBezTo>
                <a:cubicBezTo>
                  <a:pt x="3890" y="380"/>
                  <a:pt x="3890" y="380"/>
                  <a:pt x="3890" y="380"/>
                </a:cubicBezTo>
                <a:cubicBezTo>
                  <a:pt x="3890" y="53"/>
                  <a:pt x="3890" y="53"/>
                  <a:pt x="3890" y="53"/>
                </a:cubicBezTo>
                <a:cubicBezTo>
                  <a:pt x="3915" y="8"/>
                  <a:pt x="3915" y="8"/>
                  <a:pt x="3915" y="8"/>
                </a:cubicBezTo>
                <a:cubicBezTo>
                  <a:pt x="3813" y="8"/>
                  <a:pt x="3813" y="8"/>
                  <a:pt x="3813" y="8"/>
                </a:cubicBezTo>
                <a:lnTo>
                  <a:pt x="3838" y="53"/>
                </a:lnTo>
                <a:close/>
                <a:moveTo>
                  <a:pt x="4148" y="385"/>
                </a:moveTo>
                <a:cubicBezTo>
                  <a:pt x="4148" y="231"/>
                  <a:pt x="4148" y="231"/>
                  <a:pt x="4148" y="231"/>
                </a:cubicBezTo>
                <a:cubicBezTo>
                  <a:pt x="4255" y="231"/>
                  <a:pt x="4255" y="231"/>
                  <a:pt x="4255" y="231"/>
                </a:cubicBezTo>
                <a:cubicBezTo>
                  <a:pt x="4292" y="249"/>
                  <a:pt x="4292" y="249"/>
                  <a:pt x="4292" y="249"/>
                </a:cubicBezTo>
                <a:cubicBezTo>
                  <a:pt x="4292" y="172"/>
                  <a:pt x="4292" y="172"/>
                  <a:pt x="4292" y="172"/>
                </a:cubicBezTo>
                <a:cubicBezTo>
                  <a:pt x="4255" y="191"/>
                  <a:pt x="4255" y="191"/>
                  <a:pt x="4255" y="191"/>
                </a:cubicBezTo>
                <a:cubicBezTo>
                  <a:pt x="4148" y="191"/>
                  <a:pt x="4148" y="191"/>
                  <a:pt x="4148" y="191"/>
                </a:cubicBezTo>
                <a:cubicBezTo>
                  <a:pt x="4148" y="48"/>
                  <a:pt x="4148" y="48"/>
                  <a:pt x="4148" y="48"/>
                </a:cubicBezTo>
                <a:cubicBezTo>
                  <a:pt x="4281" y="48"/>
                  <a:pt x="4281" y="48"/>
                  <a:pt x="4281" y="48"/>
                </a:cubicBezTo>
                <a:cubicBezTo>
                  <a:pt x="4324" y="66"/>
                  <a:pt x="4324" y="66"/>
                  <a:pt x="4324" y="66"/>
                </a:cubicBezTo>
                <a:cubicBezTo>
                  <a:pt x="4316" y="8"/>
                  <a:pt x="4316" y="8"/>
                  <a:pt x="4316" y="8"/>
                </a:cubicBezTo>
                <a:cubicBezTo>
                  <a:pt x="4071" y="8"/>
                  <a:pt x="4071" y="8"/>
                  <a:pt x="4071" y="8"/>
                </a:cubicBezTo>
                <a:cubicBezTo>
                  <a:pt x="4096" y="53"/>
                  <a:pt x="4096" y="53"/>
                  <a:pt x="4096" y="53"/>
                </a:cubicBezTo>
                <a:cubicBezTo>
                  <a:pt x="4096" y="379"/>
                  <a:pt x="4096" y="379"/>
                  <a:pt x="4096" y="379"/>
                </a:cubicBezTo>
                <a:cubicBezTo>
                  <a:pt x="4071" y="425"/>
                  <a:pt x="4071" y="425"/>
                  <a:pt x="4071" y="425"/>
                </a:cubicBezTo>
                <a:cubicBezTo>
                  <a:pt x="4316" y="425"/>
                  <a:pt x="4316" y="425"/>
                  <a:pt x="4316" y="425"/>
                </a:cubicBezTo>
                <a:cubicBezTo>
                  <a:pt x="4324" y="366"/>
                  <a:pt x="4324" y="366"/>
                  <a:pt x="4324" y="366"/>
                </a:cubicBezTo>
                <a:cubicBezTo>
                  <a:pt x="4281" y="385"/>
                  <a:pt x="4281" y="385"/>
                  <a:pt x="4281" y="385"/>
                </a:cubicBezTo>
                <a:lnTo>
                  <a:pt x="4148" y="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4" name="Textplatzhalter 17"/>
          <p:cNvSpPr>
            <a:spLocks noGrp="1"/>
          </p:cNvSpPr>
          <p:nvPr>
            <p:ph type="body" sz="quarter" idx="15"/>
          </p:nvPr>
        </p:nvSpPr>
        <p:spPr>
          <a:xfrm>
            <a:off x="617575" y="1412453"/>
            <a:ext cx="8934015" cy="4969297"/>
          </a:xfrm>
          <a:prstGeom prst="rect">
            <a:avLst/>
          </a:prstGeom>
        </p:spPr>
        <p:txBody>
          <a:bodyPr/>
          <a:lstStyle>
            <a:lvl1pPr marL="285750" indent="-285750">
              <a:lnSpc>
                <a:spcPct val="100000"/>
              </a:lnSpc>
              <a:spcBef>
                <a:spcPts val="600"/>
              </a:spcBef>
              <a:buClr>
                <a:srgbClr val="A68A4D"/>
              </a:buClr>
              <a:buFont typeface="Arial" panose="020B0604020202020204" pitchFamily="34" charset="0"/>
              <a:buChar char="•"/>
              <a:defRPr lang="de-DE" sz="1800" dirty="0" smtClean="0"/>
            </a:lvl1pPr>
            <a:lvl2pPr>
              <a:lnSpc>
                <a:spcPct val="100000"/>
              </a:lnSpc>
              <a:spcBef>
                <a:spcPts val="600"/>
              </a:spcBef>
              <a:buClr>
                <a:srgbClr val="A68A4D"/>
              </a:buClr>
              <a:buSzPct val="75000"/>
              <a:buFont typeface="Arial" panose="020B0604020202020204" pitchFamily="34" charset="0"/>
              <a:buChar char="•"/>
              <a:defRPr sz="1600"/>
            </a:lvl2pPr>
            <a:lvl3pPr>
              <a:buClr>
                <a:srgbClr val="A68A4D"/>
              </a:buClr>
              <a:buSzPct val="70000"/>
              <a:defRPr sz="1400"/>
            </a:lvl3pPr>
            <a:lvl4pPr marL="1257300" indent="-266700">
              <a:buClr>
                <a:srgbClr val="A68A4D"/>
              </a:buClr>
              <a:buSzPct val="60000"/>
              <a:buFont typeface="Arial" panose="020B0604020202020204" pitchFamily="34" charset="0"/>
              <a:buChar char="•"/>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Datumsplatzhalter 1"/>
          <p:cNvSpPr>
            <a:spLocks noGrp="1"/>
          </p:cNvSpPr>
          <p:nvPr>
            <p:ph type="dt" sz="half" idx="16"/>
          </p:nvPr>
        </p:nvSpPr>
        <p:spPr/>
        <p:txBody>
          <a:bodyPr/>
          <a:lstStyle/>
          <a:p>
            <a:fld id="{35915607-80C7-4A93-B990-A03E0AA73BF5}" type="datetime1">
              <a:rPr lang="de-DE" smtClean="0"/>
              <a:t>27.06.2019</a:t>
            </a:fld>
            <a:endParaRPr lang="de-DE" dirty="0"/>
          </a:p>
        </p:txBody>
      </p:sp>
      <p:sp>
        <p:nvSpPr>
          <p:cNvPr id="3" name="Fußzeilenplatzhalter 2"/>
          <p:cNvSpPr>
            <a:spLocks noGrp="1"/>
          </p:cNvSpPr>
          <p:nvPr>
            <p:ph type="ftr" sz="quarter" idx="17"/>
          </p:nvPr>
        </p:nvSpPr>
        <p:spPr/>
        <p:txBody>
          <a:bodyPr/>
          <a:lstStyle>
            <a:lvl1pPr>
              <a:defRPr/>
            </a:lvl1pPr>
          </a:lstStyle>
          <a:p>
            <a:r>
              <a:rPr lang="de-DE" dirty="0"/>
              <a:t> © RA Stephan Schmidt | TCI Rechtsanwälte 2019</a:t>
            </a:r>
          </a:p>
        </p:txBody>
      </p:sp>
      <p:sp>
        <p:nvSpPr>
          <p:cNvPr id="4" name="Foliennummernplatzhalter 3"/>
          <p:cNvSpPr>
            <a:spLocks noGrp="1"/>
          </p:cNvSpPr>
          <p:nvPr>
            <p:ph type="sldNum" sz="quarter" idx="18"/>
          </p:nvPr>
        </p:nvSpPr>
        <p:spPr/>
        <p:txBody>
          <a:bodyPr/>
          <a:lstStyle/>
          <a:p>
            <a:fld id="{2B4A8978-7379-4EE5-A30C-C3165A133675}" type="slidenum">
              <a:rPr lang="de-DE" smtClean="0"/>
              <a:pPr/>
              <a:t>‹Nr.›</a:t>
            </a:fld>
            <a:endParaRPr lang="de-DE" dirty="0"/>
          </a:p>
        </p:txBody>
      </p:sp>
      <p:pic>
        <p:nvPicPr>
          <p:cNvPr id="15" name="Picture 2" descr="https://lh5.googleusercontent.com/-QRMHLQ2c3bU/T4rHlRxXshI/AAAAAAAHStY/8N2jk6DWnw8/w943-h793-no/TCI+Rechtsanw%25C3%25A4lte">
            <a:extLst>
              <a:ext uri="{FF2B5EF4-FFF2-40B4-BE49-F238E27FC236}">
                <a16:creationId xmlns:a16="http://schemas.microsoft.com/office/drawing/2014/main" id="{C53B434D-4373-4BB8-A705-4EA6DBD06F8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89062" y="199661"/>
            <a:ext cx="10414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481056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points rund &amp; Bild">
    <p:spTree>
      <p:nvGrpSpPr>
        <p:cNvPr id="1" name=""/>
        <p:cNvGrpSpPr/>
        <p:nvPr/>
      </p:nvGrpSpPr>
      <p:grpSpPr>
        <a:xfrm>
          <a:off x="0" y="0"/>
          <a:ext cx="0" cy="0"/>
          <a:chOff x="0" y="0"/>
          <a:chExt cx="0" cy="0"/>
        </a:xfrm>
      </p:grpSpPr>
      <p:sp>
        <p:nvSpPr>
          <p:cNvPr id="3" name="Rechteck 2"/>
          <p:cNvSpPr/>
          <p:nvPr userDrawn="1"/>
        </p:nvSpPr>
        <p:spPr>
          <a:xfrm>
            <a:off x="11279782" y="6525344"/>
            <a:ext cx="432048" cy="1707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Bildplatzhalter 8"/>
          <p:cNvSpPr>
            <a:spLocks noGrp="1"/>
          </p:cNvSpPr>
          <p:nvPr>
            <p:ph type="pic" sz="quarter" idx="14" hasCustomPrompt="1"/>
          </p:nvPr>
        </p:nvSpPr>
        <p:spPr>
          <a:xfrm>
            <a:off x="6094413" y="1412875"/>
            <a:ext cx="5472111" cy="4968876"/>
          </a:xfrm>
          <a:prstGeom prst="rect">
            <a:avLst/>
          </a:prstGeom>
          <a:solidFill>
            <a:schemeClr val="bg1">
              <a:lumMod val="65000"/>
            </a:schemeClr>
          </a:solidFill>
        </p:spPr>
        <p:txBody>
          <a:bodyPr anchor="ctr" anchorCtr="0"/>
          <a:lstStyle>
            <a:lvl1pPr marL="0" indent="0" algn="ctr">
              <a:lnSpc>
                <a:spcPct val="100000"/>
              </a:lnSpc>
              <a:buNone/>
              <a:defRPr sz="1750"/>
            </a:lvl1pPr>
          </a:lstStyle>
          <a:p>
            <a:r>
              <a:rPr lang="de-DE" dirty="0"/>
              <a:t>Bild auf Platzhalter ziehen </a:t>
            </a:r>
            <a:br>
              <a:rPr lang="de-DE" dirty="0"/>
            </a:br>
            <a:r>
              <a:rPr lang="de-DE" dirty="0"/>
              <a:t>oder durch Klicken auf das Symbol hinzufügen </a:t>
            </a:r>
          </a:p>
        </p:txBody>
      </p:sp>
      <p:sp>
        <p:nvSpPr>
          <p:cNvPr id="11" name="Textplatzhalter 17"/>
          <p:cNvSpPr>
            <a:spLocks noGrp="1"/>
          </p:cNvSpPr>
          <p:nvPr>
            <p:ph type="body" sz="quarter" idx="15"/>
          </p:nvPr>
        </p:nvSpPr>
        <p:spPr>
          <a:xfrm>
            <a:off x="617576" y="1412453"/>
            <a:ext cx="4735512" cy="4968875"/>
          </a:xfrm>
          <a:prstGeom prst="rect">
            <a:avLst/>
          </a:prstGeom>
        </p:spPr>
        <p:txBody>
          <a:bodyPr/>
          <a:lstStyle>
            <a:lvl1pPr marL="361950" indent="-361950">
              <a:lnSpc>
                <a:spcPct val="100000"/>
              </a:lnSpc>
              <a:spcBef>
                <a:spcPts val="600"/>
              </a:spcBef>
              <a:buClr>
                <a:srgbClr val="A68A4D"/>
              </a:buClr>
              <a:defRPr lang="de-DE" sz="1800" dirty="0" smtClean="0"/>
            </a:lvl1pPr>
            <a:lvl2pPr>
              <a:lnSpc>
                <a:spcPct val="100000"/>
              </a:lnSpc>
              <a:spcBef>
                <a:spcPts val="600"/>
              </a:spcBef>
              <a:buClr>
                <a:srgbClr val="A68A4D"/>
              </a:buClr>
              <a:buSzPct val="75000"/>
              <a:buFont typeface="Arial" panose="020B0604020202020204" pitchFamily="34" charset="0"/>
              <a:buChar char="•"/>
              <a:defRPr sz="1600"/>
            </a:lvl2pPr>
            <a:lvl3pPr>
              <a:buClr>
                <a:srgbClr val="A68A4D"/>
              </a:buClr>
              <a:buSzPct val="70000"/>
              <a:defRPr sz="1400"/>
            </a:lvl3pPr>
            <a:lvl4pPr marL="1257300" indent="-266700">
              <a:buClr>
                <a:srgbClr val="A68A4D"/>
              </a:buClr>
              <a:buSzPct val="60000"/>
              <a:buFont typeface="Arial" panose="020B0604020202020204" pitchFamily="34" charset="0"/>
              <a:buChar char="•"/>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Titel 1"/>
          <p:cNvSpPr>
            <a:spLocks noGrp="1"/>
          </p:cNvSpPr>
          <p:nvPr>
            <p:ph type="title"/>
          </p:nvPr>
        </p:nvSpPr>
        <p:spPr>
          <a:xfrm>
            <a:off x="622598" y="180000"/>
            <a:ext cx="9926102" cy="562074"/>
          </a:xfrm>
          <a:prstGeom prst="rect">
            <a:avLst/>
          </a:prstGeom>
        </p:spPr>
        <p:txBody>
          <a:bodyPr/>
          <a:lstStyle>
            <a:lvl1pPr>
              <a:defRPr sz="3600">
                <a:solidFill>
                  <a:srgbClr val="4B93A9"/>
                </a:solidFill>
              </a:defRPr>
            </a:lvl1pPr>
          </a:lstStyle>
          <a:p>
            <a:r>
              <a:rPr lang="de-DE" dirty="0"/>
              <a:t>Mastertitelformat bearbeiten</a:t>
            </a:r>
          </a:p>
        </p:txBody>
      </p:sp>
      <p:sp>
        <p:nvSpPr>
          <p:cNvPr id="13" name="Textplatzhalter 7"/>
          <p:cNvSpPr>
            <a:spLocks noGrp="1"/>
          </p:cNvSpPr>
          <p:nvPr>
            <p:ph type="body" sz="quarter" idx="13" hasCustomPrompt="1"/>
          </p:nvPr>
        </p:nvSpPr>
        <p:spPr>
          <a:xfrm>
            <a:off x="622598" y="692696"/>
            <a:ext cx="9919939" cy="360363"/>
          </a:xfrm>
          <a:prstGeom prst="rect">
            <a:avLst/>
          </a:prstGeom>
        </p:spPr>
        <p:txBody>
          <a:bodyPr/>
          <a:lstStyle>
            <a:lvl1pPr marL="0" indent="0">
              <a:lnSpc>
                <a:spcPts val="2400"/>
              </a:lnSpc>
              <a:buNone/>
              <a:defRPr sz="1800"/>
            </a:lvl1pPr>
            <a:lvl2pPr marL="361950" indent="0">
              <a:lnSpc>
                <a:spcPts val="2400"/>
              </a:lnSpc>
              <a:buNone/>
              <a:defRPr sz="1750"/>
            </a:lvl2pPr>
            <a:lvl3pPr marL="714375" indent="0">
              <a:lnSpc>
                <a:spcPts val="2400"/>
              </a:lnSpc>
              <a:buNone/>
              <a:defRPr sz="1750"/>
            </a:lvl3pPr>
            <a:lvl4pPr marL="990600" indent="0">
              <a:lnSpc>
                <a:spcPts val="2400"/>
              </a:lnSpc>
              <a:buNone/>
              <a:defRPr sz="1750"/>
            </a:lvl4pPr>
            <a:lvl5pPr marL="1828800" indent="0">
              <a:lnSpc>
                <a:spcPts val="2400"/>
              </a:lnSpc>
              <a:buNone/>
              <a:defRPr sz="1750"/>
            </a:lvl5pPr>
          </a:lstStyle>
          <a:p>
            <a:pPr lvl="0"/>
            <a:r>
              <a:rPr lang="de-DE" dirty="0" err="1"/>
              <a:t>Subline</a:t>
            </a:r>
            <a:endParaRPr lang="de-DE" dirty="0"/>
          </a:p>
        </p:txBody>
      </p:sp>
      <p:sp>
        <p:nvSpPr>
          <p:cNvPr id="2" name="Datumsplatzhalter 1"/>
          <p:cNvSpPr>
            <a:spLocks noGrp="1"/>
          </p:cNvSpPr>
          <p:nvPr>
            <p:ph type="dt" sz="half" idx="16"/>
          </p:nvPr>
        </p:nvSpPr>
        <p:spPr/>
        <p:txBody>
          <a:bodyPr/>
          <a:lstStyle/>
          <a:p>
            <a:fld id="{F65E48EB-5EB4-4398-8112-237352F509F6}" type="datetime1">
              <a:rPr lang="de-DE" smtClean="0"/>
              <a:t>27.06.2019</a:t>
            </a:fld>
            <a:endParaRPr lang="de-DE" dirty="0"/>
          </a:p>
        </p:txBody>
      </p:sp>
      <p:sp>
        <p:nvSpPr>
          <p:cNvPr id="4" name="Fußzeilenplatzhalter 3"/>
          <p:cNvSpPr>
            <a:spLocks noGrp="1"/>
          </p:cNvSpPr>
          <p:nvPr>
            <p:ph type="ftr" sz="quarter" idx="17"/>
          </p:nvPr>
        </p:nvSpPr>
        <p:spPr/>
        <p:txBody>
          <a:bodyPr/>
          <a:lstStyle>
            <a:lvl1pPr>
              <a:defRPr/>
            </a:lvl1pPr>
          </a:lstStyle>
          <a:p>
            <a:r>
              <a:rPr lang="de-DE" dirty="0"/>
              <a:t> © RA Stephan Schmidt | TCI Rechtsanwälte 2019</a:t>
            </a:r>
          </a:p>
        </p:txBody>
      </p:sp>
      <p:sp>
        <p:nvSpPr>
          <p:cNvPr id="5" name="Foliennummernplatzhalter 4"/>
          <p:cNvSpPr>
            <a:spLocks noGrp="1"/>
          </p:cNvSpPr>
          <p:nvPr>
            <p:ph type="sldNum" sz="quarter" idx="18"/>
          </p:nvPr>
        </p:nvSpPr>
        <p:spPr/>
        <p:txBody>
          <a:bodyPr/>
          <a:lstStyle/>
          <a:p>
            <a:fld id="{2B4A8978-7379-4EE5-A30C-C3165A133675}" type="slidenum">
              <a:rPr lang="de-DE" smtClean="0"/>
              <a:pPr/>
              <a:t>‹Nr.›</a:t>
            </a:fld>
            <a:endParaRPr lang="de-DE" dirty="0"/>
          </a:p>
        </p:txBody>
      </p:sp>
      <p:pic>
        <p:nvPicPr>
          <p:cNvPr id="14" name="Picture 2" descr="https://lh5.googleusercontent.com/-QRMHLQ2c3bU/T4rHlRxXshI/AAAAAAAHStY/8N2jk6DWnw8/w943-h793-no/TCI+Rechtsanw%25C3%25A4lte">
            <a:extLst>
              <a:ext uri="{FF2B5EF4-FFF2-40B4-BE49-F238E27FC236}">
                <a16:creationId xmlns:a16="http://schemas.microsoft.com/office/drawing/2014/main" id="{5722AAEB-048D-4504-A13E-5E194A8A133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71274" y="201175"/>
            <a:ext cx="10414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495860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 vollflächig">
    <p:spTree>
      <p:nvGrpSpPr>
        <p:cNvPr id="1" name=""/>
        <p:cNvGrpSpPr/>
        <p:nvPr/>
      </p:nvGrpSpPr>
      <p:grpSpPr>
        <a:xfrm>
          <a:off x="0" y="0"/>
          <a:ext cx="0" cy="0"/>
          <a:chOff x="0" y="0"/>
          <a:chExt cx="0" cy="0"/>
        </a:xfrm>
      </p:grpSpPr>
      <p:sp>
        <p:nvSpPr>
          <p:cNvPr id="9" name="Bildplatzhalter 8"/>
          <p:cNvSpPr>
            <a:spLocks noGrp="1"/>
          </p:cNvSpPr>
          <p:nvPr>
            <p:ph type="pic" sz="quarter" idx="14" hasCustomPrompt="1"/>
          </p:nvPr>
        </p:nvSpPr>
        <p:spPr>
          <a:xfrm>
            <a:off x="1" y="0"/>
            <a:ext cx="12190412" cy="6381750"/>
          </a:xfrm>
          <a:prstGeom prst="rect">
            <a:avLst/>
          </a:prstGeom>
          <a:solidFill>
            <a:schemeClr val="bg1">
              <a:lumMod val="65000"/>
            </a:schemeClr>
          </a:solidFill>
        </p:spPr>
        <p:txBody>
          <a:bodyPr anchor="ctr" anchorCtr="0"/>
          <a:lstStyle>
            <a:lvl1pPr marL="0" indent="0" algn="ctr">
              <a:buNone/>
              <a:defRPr sz="1700">
                <a:solidFill>
                  <a:schemeClr val="tx1"/>
                </a:solidFill>
              </a:defRPr>
            </a:lvl1pPr>
          </a:lstStyle>
          <a:p>
            <a:r>
              <a:rPr lang="de-DE" dirty="0"/>
              <a:t>Bild auf Platzhalter ziehen oder durch Klicken auf das Symbol hinzufügen</a:t>
            </a:r>
          </a:p>
        </p:txBody>
      </p:sp>
      <p:sp>
        <p:nvSpPr>
          <p:cNvPr id="2" name="Datumsplatzhalter 1"/>
          <p:cNvSpPr>
            <a:spLocks noGrp="1"/>
          </p:cNvSpPr>
          <p:nvPr>
            <p:ph type="dt" sz="half" idx="15"/>
          </p:nvPr>
        </p:nvSpPr>
        <p:spPr/>
        <p:txBody>
          <a:bodyPr/>
          <a:lstStyle/>
          <a:p>
            <a:fld id="{35E51657-1AB5-417E-9439-DE2BD4A3BA0A}" type="datetime1">
              <a:rPr lang="de-DE" smtClean="0"/>
              <a:t>27.06.2019</a:t>
            </a:fld>
            <a:endParaRPr lang="de-DE" dirty="0"/>
          </a:p>
        </p:txBody>
      </p:sp>
      <p:sp>
        <p:nvSpPr>
          <p:cNvPr id="4" name="Fußzeilenplatzhalter 3"/>
          <p:cNvSpPr>
            <a:spLocks noGrp="1"/>
          </p:cNvSpPr>
          <p:nvPr>
            <p:ph type="ftr" sz="quarter" idx="16"/>
          </p:nvPr>
        </p:nvSpPr>
        <p:spPr/>
        <p:txBody>
          <a:bodyPr/>
          <a:lstStyle>
            <a:lvl1pPr>
              <a:defRPr/>
            </a:lvl1pPr>
          </a:lstStyle>
          <a:p>
            <a:r>
              <a:rPr lang="de-DE" dirty="0"/>
              <a:t> © RA Stephan Schmidt | TCI Rechtsanwälte 2019</a:t>
            </a:r>
          </a:p>
        </p:txBody>
      </p:sp>
      <p:sp>
        <p:nvSpPr>
          <p:cNvPr id="5" name="Foliennummernplatzhalter 4"/>
          <p:cNvSpPr>
            <a:spLocks noGrp="1"/>
          </p:cNvSpPr>
          <p:nvPr>
            <p:ph type="sldNum" sz="quarter" idx="17"/>
          </p:nvPr>
        </p:nvSpPr>
        <p:spPr/>
        <p:txBody>
          <a:bodyPr/>
          <a:lstStyle/>
          <a:p>
            <a:fld id="{2B4A8978-7379-4EE5-A30C-C3165A133675}" type="slidenum">
              <a:rPr lang="de-DE" smtClean="0"/>
              <a:pPr/>
              <a:t>‹Nr.›</a:t>
            </a:fld>
            <a:endParaRPr lang="de-DE" dirty="0"/>
          </a:p>
        </p:txBody>
      </p:sp>
    </p:spTree>
    <p:extLst>
      <p:ext uri="{BB962C8B-B14F-4D97-AF65-F5344CB8AC3E}">
        <p14:creationId xmlns:p14="http://schemas.microsoft.com/office/powerpoint/2010/main" val="140287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großes Bild">
    <p:spTree>
      <p:nvGrpSpPr>
        <p:cNvPr id="1" name=""/>
        <p:cNvGrpSpPr/>
        <p:nvPr/>
      </p:nvGrpSpPr>
      <p:grpSpPr>
        <a:xfrm>
          <a:off x="0" y="0"/>
          <a:ext cx="0" cy="0"/>
          <a:chOff x="0" y="0"/>
          <a:chExt cx="0" cy="0"/>
        </a:xfrm>
      </p:grpSpPr>
      <p:sp>
        <p:nvSpPr>
          <p:cNvPr id="11" name="Titel 1"/>
          <p:cNvSpPr>
            <a:spLocks noGrp="1"/>
          </p:cNvSpPr>
          <p:nvPr>
            <p:ph type="title"/>
          </p:nvPr>
        </p:nvSpPr>
        <p:spPr>
          <a:xfrm>
            <a:off x="622598" y="180000"/>
            <a:ext cx="9926102" cy="562074"/>
          </a:xfrm>
          <a:prstGeom prst="rect">
            <a:avLst/>
          </a:prstGeom>
        </p:spPr>
        <p:txBody>
          <a:bodyPr/>
          <a:lstStyle>
            <a:lvl1pPr>
              <a:defRPr sz="3600">
                <a:solidFill>
                  <a:srgbClr val="4B93A9"/>
                </a:solidFill>
              </a:defRPr>
            </a:lvl1pPr>
          </a:lstStyle>
          <a:p>
            <a:r>
              <a:rPr lang="de-DE" dirty="0"/>
              <a:t>Mastertitelformat bearbeiten</a:t>
            </a:r>
          </a:p>
        </p:txBody>
      </p:sp>
      <p:sp>
        <p:nvSpPr>
          <p:cNvPr id="12" name="Textplatzhalter 7"/>
          <p:cNvSpPr>
            <a:spLocks noGrp="1"/>
          </p:cNvSpPr>
          <p:nvPr>
            <p:ph type="body" sz="quarter" idx="13" hasCustomPrompt="1"/>
          </p:nvPr>
        </p:nvSpPr>
        <p:spPr>
          <a:xfrm>
            <a:off x="622598" y="692696"/>
            <a:ext cx="9919939" cy="360363"/>
          </a:xfrm>
          <a:prstGeom prst="rect">
            <a:avLst/>
          </a:prstGeom>
        </p:spPr>
        <p:txBody>
          <a:bodyPr/>
          <a:lstStyle>
            <a:lvl1pPr marL="0" indent="0">
              <a:lnSpc>
                <a:spcPts val="2400"/>
              </a:lnSpc>
              <a:buNone/>
              <a:defRPr sz="1800"/>
            </a:lvl1pPr>
            <a:lvl2pPr marL="361950" indent="0">
              <a:lnSpc>
                <a:spcPts val="2400"/>
              </a:lnSpc>
              <a:buNone/>
              <a:defRPr sz="1750"/>
            </a:lvl2pPr>
            <a:lvl3pPr marL="714375" indent="0">
              <a:lnSpc>
                <a:spcPts val="2400"/>
              </a:lnSpc>
              <a:buNone/>
              <a:defRPr sz="1750"/>
            </a:lvl3pPr>
            <a:lvl4pPr marL="990600" indent="0">
              <a:lnSpc>
                <a:spcPts val="2400"/>
              </a:lnSpc>
              <a:buNone/>
              <a:defRPr sz="1750"/>
            </a:lvl4pPr>
            <a:lvl5pPr marL="1828800" indent="0">
              <a:lnSpc>
                <a:spcPts val="2400"/>
              </a:lnSpc>
              <a:buNone/>
              <a:defRPr sz="1750"/>
            </a:lvl5pPr>
          </a:lstStyle>
          <a:p>
            <a:pPr lvl="0"/>
            <a:r>
              <a:rPr lang="de-DE" dirty="0" err="1"/>
              <a:t>Subline</a:t>
            </a:r>
            <a:endParaRPr lang="de-DE" dirty="0"/>
          </a:p>
        </p:txBody>
      </p:sp>
      <p:sp>
        <p:nvSpPr>
          <p:cNvPr id="2" name="Rechteck 1"/>
          <p:cNvSpPr/>
          <p:nvPr userDrawn="1"/>
        </p:nvSpPr>
        <p:spPr>
          <a:xfrm>
            <a:off x="10919742" y="6381328"/>
            <a:ext cx="936104"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Bildplatzhalter 8"/>
          <p:cNvSpPr>
            <a:spLocks noGrp="1"/>
          </p:cNvSpPr>
          <p:nvPr>
            <p:ph type="pic" sz="quarter" idx="14" hasCustomPrompt="1"/>
          </p:nvPr>
        </p:nvSpPr>
        <p:spPr>
          <a:xfrm>
            <a:off x="622301" y="1412874"/>
            <a:ext cx="10947412" cy="4968875"/>
          </a:xfrm>
          <a:prstGeom prst="rect">
            <a:avLst/>
          </a:prstGeom>
          <a:solidFill>
            <a:schemeClr val="bg1">
              <a:lumMod val="65000"/>
            </a:schemeClr>
          </a:solidFill>
        </p:spPr>
        <p:txBody>
          <a:bodyPr anchor="ctr" anchorCtr="0"/>
          <a:lstStyle>
            <a:lvl1pPr marL="0" indent="0" algn="ctr">
              <a:lnSpc>
                <a:spcPct val="100000"/>
              </a:lnSpc>
              <a:buNone/>
              <a:defRPr sz="1700">
                <a:solidFill>
                  <a:schemeClr val="tx1"/>
                </a:solidFill>
              </a:defRPr>
            </a:lvl1pPr>
          </a:lstStyle>
          <a:p>
            <a:r>
              <a:rPr lang="de-DE" dirty="0"/>
              <a:t>Bild auf Platzhalter ziehen oder durch Klicken auf das Symbol hinzufügen </a:t>
            </a:r>
          </a:p>
        </p:txBody>
      </p:sp>
      <p:sp>
        <p:nvSpPr>
          <p:cNvPr id="3" name="Datumsplatzhalter 2"/>
          <p:cNvSpPr>
            <a:spLocks noGrp="1"/>
          </p:cNvSpPr>
          <p:nvPr>
            <p:ph type="dt" sz="half" idx="15"/>
          </p:nvPr>
        </p:nvSpPr>
        <p:spPr/>
        <p:txBody>
          <a:bodyPr/>
          <a:lstStyle/>
          <a:p>
            <a:fld id="{E65C2B7C-1918-4B07-8815-BCF78CAC780F}" type="datetime1">
              <a:rPr lang="de-DE" smtClean="0"/>
              <a:t>27.06.2019</a:t>
            </a:fld>
            <a:endParaRPr lang="de-DE" dirty="0"/>
          </a:p>
        </p:txBody>
      </p:sp>
      <p:sp>
        <p:nvSpPr>
          <p:cNvPr id="4" name="Fußzeilenplatzhalter 3"/>
          <p:cNvSpPr>
            <a:spLocks noGrp="1"/>
          </p:cNvSpPr>
          <p:nvPr>
            <p:ph type="ftr" sz="quarter" idx="16"/>
          </p:nvPr>
        </p:nvSpPr>
        <p:spPr/>
        <p:txBody>
          <a:bodyPr/>
          <a:lstStyle>
            <a:lvl1pPr>
              <a:defRPr/>
            </a:lvl1pPr>
          </a:lstStyle>
          <a:p>
            <a:r>
              <a:rPr lang="de-DE" dirty="0"/>
              <a:t> © RA Stephan Schmidt | TCI Rechtsanwälte 2019</a:t>
            </a:r>
          </a:p>
        </p:txBody>
      </p:sp>
      <p:sp>
        <p:nvSpPr>
          <p:cNvPr id="5" name="Foliennummernplatzhalter 4"/>
          <p:cNvSpPr>
            <a:spLocks noGrp="1"/>
          </p:cNvSpPr>
          <p:nvPr>
            <p:ph type="sldNum" sz="quarter" idx="17"/>
          </p:nvPr>
        </p:nvSpPr>
        <p:spPr/>
        <p:txBody>
          <a:bodyPr/>
          <a:lstStyle/>
          <a:p>
            <a:fld id="{2B4A8978-7379-4EE5-A30C-C3165A133675}" type="slidenum">
              <a:rPr lang="de-DE" smtClean="0"/>
              <a:pPr/>
              <a:t>‹Nr.›</a:t>
            </a:fld>
            <a:endParaRPr lang="de-DE" dirty="0"/>
          </a:p>
        </p:txBody>
      </p:sp>
      <p:pic>
        <p:nvPicPr>
          <p:cNvPr id="13" name="Picture 2" descr="https://lh5.googleusercontent.com/-QRMHLQ2c3bU/T4rHlRxXshI/AAAAAAAHStY/8N2jk6DWnw8/w943-h793-no/TCI+Rechtsanw%25C3%25A4lte">
            <a:extLst>
              <a:ext uri="{FF2B5EF4-FFF2-40B4-BE49-F238E27FC236}">
                <a16:creationId xmlns:a16="http://schemas.microsoft.com/office/drawing/2014/main" id="{E22EA8E4-F766-4D3E-9553-A4F45628389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70774" y="201174"/>
            <a:ext cx="10414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61932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9983638" y="6512119"/>
            <a:ext cx="828576" cy="207178"/>
          </a:xfrm>
          <a:prstGeom prst="rect">
            <a:avLst/>
          </a:prstGeom>
        </p:spPr>
        <p:txBody>
          <a:bodyPr vert="horz" lIns="91440" tIns="45720" rIns="91440" bIns="45720" rtlCol="0" anchor="ctr"/>
          <a:lstStyle>
            <a:lvl1pPr algn="l">
              <a:defRPr sz="700">
                <a:solidFill>
                  <a:schemeClr val="tx1"/>
                </a:solidFill>
              </a:defRPr>
            </a:lvl1pPr>
          </a:lstStyle>
          <a:p>
            <a:fld id="{5391AF4C-6882-4007-87EB-98776B26C66F}" type="datetime1">
              <a:rPr lang="de-DE" smtClean="0"/>
              <a:t>27.06.2019</a:t>
            </a:fld>
            <a:endParaRPr lang="de-DE" dirty="0"/>
          </a:p>
        </p:txBody>
      </p:sp>
      <p:sp>
        <p:nvSpPr>
          <p:cNvPr id="3" name="Fußzeilenplatzhalter 2"/>
          <p:cNvSpPr>
            <a:spLocks noGrp="1"/>
          </p:cNvSpPr>
          <p:nvPr>
            <p:ph type="ftr" sz="quarter" idx="3"/>
          </p:nvPr>
        </p:nvSpPr>
        <p:spPr>
          <a:xfrm>
            <a:off x="4160515" y="6511524"/>
            <a:ext cx="3859213" cy="207178"/>
          </a:xfrm>
          <a:prstGeom prst="rect">
            <a:avLst/>
          </a:prstGeom>
        </p:spPr>
        <p:txBody>
          <a:bodyPr vert="horz" lIns="91440" tIns="45720" rIns="91440" bIns="45720" rtlCol="0" anchor="ctr"/>
          <a:lstStyle>
            <a:lvl1pPr algn="ctr">
              <a:defRPr sz="700">
                <a:solidFill>
                  <a:schemeClr val="tx1"/>
                </a:solidFill>
              </a:defRPr>
            </a:lvl1pPr>
          </a:lstStyle>
          <a:p>
            <a:r>
              <a:rPr lang="de-DE" dirty="0"/>
              <a:t>Rechtsanwalt Stephan Schmidt (eDSB)</a:t>
            </a:r>
          </a:p>
        </p:txBody>
      </p:sp>
      <p:sp>
        <p:nvSpPr>
          <p:cNvPr id="4" name="Foliennummernplatzhalter 3"/>
          <p:cNvSpPr>
            <a:spLocks noGrp="1"/>
          </p:cNvSpPr>
          <p:nvPr>
            <p:ph type="sldNum" sz="quarter" idx="4"/>
          </p:nvPr>
        </p:nvSpPr>
        <p:spPr>
          <a:xfrm>
            <a:off x="11135765" y="6511524"/>
            <a:ext cx="445047" cy="207178"/>
          </a:xfrm>
          <a:prstGeom prst="rect">
            <a:avLst/>
          </a:prstGeom>
        </p:spPr>
        <p:txBody>
          <a:bodyPr vert="horz" lIns="91440" tIns="45720" rIns="91440" bIns="45720" rtlCol="0" anchor="ctr"/>
          <a:lstStyle>
            <a:lvl1pPr algn="r">
              <a:defRPr sz="700">
                <a:solidFill>
                  <a:schemeClr val="tx1"/>
                </a:solidFill>
              </a:defRPr>
            </a:lvl1pPr>
          </a:lstStyle>
          <a:p>
            <a:fld id="{2B4A8978-7379-4EE5-A30C-C3165A133675}" type="slidenum">
              <a:rPr lang="de-DE" smtClean="0"/>
              <a:pPr/>
              <a:t>‹Nr.›</a:t>
            </a:fld>
            <a:endParaRPr lang="de-DE" dirty="0"/>
          </a:p>
        </p:txBody>
      </p:sp>
    </p:spTree>
    <p:extLst>
      <p:ext uri="{BB962C8B-B14F-4D97-AF65-F5344CB8AC3E}">
        <p14:creationId xmlns:p14="http://schemas.microsoft.com/office/powerpoint/2010/main" val="1935400280"/>
      </p:ext>
    </p:extLst>
  </p:cSld>
  <p:clrMap bg1="lt1" tx1="dk1" bg2="lt2" tx2="dk2" accent1="accent1" accent2="accent2" accent3="accent3" accent4="accent4" accent5="accent5" accent6="accent6" hlink="hlink" folHlink="folHlink"/>
  <p:sldLayoutIdLst>
    <p:sldLayoutId id="2147483707" r:id="rId1"/>
    <p:sldLayoutId id="2147483744" r:id="rId2"/>
    <p:sldLayoutId id="2147483706" r:id="rId3"/>
    <p:sldLayoutId id="2147483680" r:id="rId4"/>
    <p:sldLayoutId id="2147483746" r:id="rId5"/>
    <p:sldLayoutId id="2147483747" r:id="rId6"/>
    <p:sldLayoutId id="2147483702" r:id="rId7"/>
    <p:sldLayoutId id="2147483667" r:id="rId8"/>
    <p:sldLayoutId id="2147483699" r:id="rId9"/>
    <p:sldLayoutId id="2147483704" r:id="rId10"/>
    <p:sldLayoutId id="2147483654" r:id="rId11"/>
    <p:sldLayoutId id="2147483745" r:id="rId12"/>
  </p:sldLayoutIdLst>
  <p:hf hdr="0" dt="0"/>
  <p:txStyles>
    <p:titleStyle>
      <a:lvl1pPr algn="l" defTabSz="914400" rtl="0" eaLnBrk="1" latinLnBrk="0" hangingPunct="1">
        <a:spcBef>
          <a:spcPct val="0"/>
        </a:spcBef>
        <a:buNone/>
        <a:defRPr sz="3500" kern="1200">
          <a:solidFill>
            <a:schemeClr val="accent2"/>
          </a:solidFill>
          <a:latin typeface="+mj-lt"/>
          <a:ea typeface="+mj-ea"/>
          <a:cs typeface="+mj-cs"/>
        </a:defRPr>
      </a:lvl1pPr>
    </p:titleStyle>
    <p:bodyStyle>
      <a:lvl1pPr marL="361950" indent="-361950" algn="l" defTabSz="914400" rtl="0" eaLnBrk="1" latinLnBrk="0" hangingPunct="1">
        <a:lnSpc>
          <a:spcPts val="4200"/>
        </a:lnSpc>
        <a:spcBef>
          <a:spcPts val="0"/>
        </a:spcBef>
        <a:buFont typeface="Arial" panose="020B0604020202020204" pitchFamily="34" charset="0"/>
        <a:buChar char="•"/>
        <a:defRPr sz="3500" kern="1200">
          <a:solidFill>
            <a:schemeClr val="tx1"/>
          </a:solidFill>
          <a:latin typeface="+mn-lt"/>
          <a:ea typeface="+mn-ea"/>
          <a:cs typeface="+mn-cs"/>
        </a:defRPr>
      </a:lvl1pPr>
      <a:lvl2pPr marL="714375" indent="-352425" algn="l" defTabSz="914400" rtl="0" eaLnBrk="1" latinLnBrk="0" hangingPunct="1">
        <a:lnSpc>
          <a:spcPts val="2800"/>
        </a:lnSpc>
        <a:spcBef>
          <a:spcPts val="0"/>
        </a:spcBef>
        <a:buFont typeface="Arial" panose="020B0604020202020204" pitchFamily="34" charset="0"/>
        <a:buChar char="–"/>
        <a:defRPr sz="2200" kern="1200">
          <a:solidFill>
            <a:schemeClr val="tx1"/>
          </a:solidFill>
          <a:latin typeface="+mn-lt"/>
          <a:ea typeface="+mn-ea"/>
          <a:cs typeface="+mn-cs"/>
        </a:defRPr>
      </a:lvl2pPr>
      <a:lvl3pPr marL="990600" indent="-276225" algn="l" defTabSz="914400" rtl="0" eaLnBrk="1" latinLnBrk="0" hangingPunct="1">
        <a:lnSpc>
          <a:spcPts val="2400"/>
        </a:lnSpc>
        <a:spcBef>
          <a:spcPts val="0"/>
        </a:spcBef>
        <a:buFont typeface="Arial" panose="020B0604020202020204" pitchFamily="34" charset="0"/>
        <a:buChar char="•"/>
        <a:defRPr sz="1750" kern="1200">
          <a:solidFill>
            <a:schemeClr val="tx1"/>
          </a:solidFill>
          <a:latin typeface="+mn-lt"/>
          <a:ea typeface="+mn-ea"/>
          <a:cs typeface="+mn-cs"/>
        </a:defRPr>
      </a:lvl3pPr>
      <a:lvl4pPr marL="1257300" indent="-266700" algn="l" defTabSz="914400" rtl="0" eaLnBrk="1" latinLnBrk="0" hangingPunct="1">
        <a:lnSpc>
          <a:spcPts val="1700"/>
        </a:lnSpc>
        <a:spcBef>
          <a:spcPts val="0"/>
        </a:spcBef>
        <a:buFont typeface="Arial" panose="020B0604020202020204" pitchFamily="34" charset="0"/>
        <a:buChar char="–"/>
        <a:defRPr sz="1300" kern="1200">
          <a:solidFill>
            <a:schemeClr val="tx1"/>
          </a:solidFill>
          <a:latin typeface="+mn-lt"/>
          <a:ea typeface="+mn-ea"/>
          <a:cs typeface="+mn-cs"/>
        </a:defRPr>
      </a:lvl4pPr>
      <a:lvl5pPr marL="2057400" indent="-228600" algn="l" defTabSz="914400" rtl="0" eaLnBrk="1" latinLnBrk="0" hangingPunct="1">
        <a:spcBef>
          <a:spcPts val="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hyperlink" Target="http://www.tcilaw.de/"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262558" y="5040915"/>
            <a:ext cx="10009112" cy="938534"/>
          </a:xfrm>
        </p:spPr>
        <p:txBody>
          <a:bodyPr/>
          <a:lstStyle/>
          <a:p>
            <a:r>
              <a:rPr lang="de-DE" dirty="0">
                <a:latin typeface="+mn-lt"/>
              </a:rPr>
              <a:t>1 Jahr DSGVO –</a:t>
            </a:r>
            <a:br>
              <a:rPr lang="de-DE" dirty="0">
                <a:latin typeface="+mn-lt"/>
              </a:rPr>
            </a:br>
            <a:r>
              <a:rPr lang="de-DE" dirty="0">
                <a:latin typeface="+mn-lt"/>
              </a:rPr>
              <a:t>Praxiserfahrungen und Evaluation</a:t>
            </a:r>
          </a:p>
        </p:txBody>
      </p:sp>
      <p:sp>
        <p:nvSpPr>
          <p:cNvPr id="3" name="Textplatzhalter 2"/>
          <p:cNvSpPr>
            <a:spLocks noGrp="1"/>
          </p:cNvSpPr>
          <p:nvPr>
            <p:ph type="body" sz="quarter" idx="10"/>
          </p:nvPr>
        </p:nvSpPr>
        <p:spPr>
          <a:xfrm>
            <a:off x="262558" y="5989001"/>
            <a:ext cx="8423771" cy="648072"/>
          </a:xfrm>
        </p:spPr>
        <p:txBody>
          <a:bodyPr/>
          <a:lstStyle/>
          <a:p>
            <a:r>
              <a:rPr lang="de-DE" dirty="0"/>
              <a:t>Stephan Schmidt | Fachanwalt für IT-Recht / Datenschutzbeauftragter / CIPP-E</a:t>
            </a:r>
          </a:p>
          <a:p>
            <a:r>
              <a:rPr lang="de-DE" dirty="0"/>
              <a:t>Stuttgart | 28. Juni 2019</a:t>
            </a:r>
          </a:p>
        </p:txBody>
      </p:sp>
    </p:spTree>
    <p:extLst>
      <p:ext uri="{BB962C8B-B14F-4D97-AF65-F5344CB8AC3E}">
        <p14:creationId xmlns:p14="http://schemas.microsoft.com/office/powerpoint/2010/main" val="798033343"/>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FCE18C-E2C8-4A19-8A7C-35B143D65876}"/>
              </a:ext>
            </a:extLst>
          </p:cNvPr>
          <p:cNvSpPr>
            <a:spLocks noGrp="1"/>
          </p:cNvSpPr>
          <p:nvPr>
            <p:ph type="title"/>
          </p:nvPr>
        </p:nvSpPr>
        <p:spPr/>
        <p:txBody>
          <a:bodyPr/>
          <a:lstStyle/>
          <a:p>
            <a:r>
              <a:rPr lang="de-DE" dirty="0">
                <a:latin typeface="+mn-lt"/>
              </a:rPr>
              <a:t>Belastung für (kleinere) Unternehmen</a:t>
            </a:r>
          </a:p>
        </p:txBody>
      </p:sp>
      <p:sp>
        <p:nvSpPr>
          <p:cNvPr id="3" name="Textplatzhalter 2">
            <a:extLst>
              <a:ext uri="{FF2B5EF4-FFF2-40B4-BE49-F238E27FC236}">
                <a16:creationId xmlns:a16="http://schemas.microsoft.com/office/drawing/2014/main" id="{5F19DC66-739C-48B9-88FD-22BA598A0936}"/>
              </a:ext>
            </a:extLst>
          </p:cNvPr>
          <p:cNvSpPr>
            <a:spLocks noGrp="1"/>
          </p:cNvSpPr>
          <p:nvPr>
            <p:ph type="body" sz="quarter" idx="13"/>
          </p:nvPr>
        </p:nvSpPr>
        <p:spPr/>
        <p:txBody>
          <a:bodyPr/>
          <a:lstStyle/>
          <a:p>
            <a:endParaRPr lang="de-DE"/>
          </a:p>
        </p:txBody>
      </p:sp>
      <p:sp>
        <p:nvSpPr>
          <p:cNvPr id="4" name="Textplatzhalter 3">
            <a:extLst>
              <a:ext uri="{FF2B5EF4-FFF2-40B4-BE49-F238E27FC236}">
                <a16:creationId xmlns:a16="http://schemas.microsoft.com/office/drawing/2014/main" id="{1F128B13-5272-4DFB-80E4-D6088F6F5757}"/>
              </a:ext>
            </a:extLst>
          </p:cNvPr>
          <p:cNvSpPr>
            <a:spLocks noGrp="1"/>
          </p:cNvSpPr>
          <p:nvPr>
            <p:ph type="body" sz="quarter" idx="15"/>
          </p:nvPr>
        </p:nvSpPr>
        <p:spPr/>
        <p:txBody>
          <a:bodyPr/>
          <a:lstStyle/>
          <a:p>
            <a:pPr>
              <a:buClr>
                <a:srgbClr val="4B93A9"/>
              </a:buClr>
            </a:pPr>
            <a:r>
              <a:rPr lang="de-DE" sz="2200" dirty="0"/>
              <a:t>den Verantwortlichen treffen fast </a:t>
            </a:r>
            <a:r>
              <a:rPr lang="de-DE" sz="2200" b="1" dirty="0"/>
              <a:t>70 Pflichten</a:t>
            </a:r>
            <a:r>
              <a:rPr lang="de-DE" sz="2200" dirty="0"/>
              <a:t>, die mehr oder weniger unabhängig von der Größe des Unternehmens sind</a:t>
            </a:r>
          </a:p>
          <a:p>
            <a:pPr>
              <a:buClr>
                <a:srgbClr val="4B93A9"/>
              </a:buClr>
            </a:pPr>
            <a:r>
              <a:rPr lang="de-DE" sz="2200" dirty="0"/>
              <a:t>der risikobasierte Ansatz der DSGVO wird damit in weiten Teilen der Regelungen praktisch aufgegeben</a:t>
            </a:r>
          </a:p>
          <a:p>
            <a:pPr>
              <a:buClr>
                <a:srgbClr val="4B93A9"/>
              </a:buClr>
            </a:pPr>
            <a:r>
              <a:rPr lang="de-DE" sz="2200" dirty="0"/>
              <a:t>Umsetzung ist mit </a:t>
            </a:r>
            <a:r>
              <a:rPr lang="de-DE" sz="2200" b="1" dirty="0"/>
              <a:t>hohen Kosten </a:t>
            </a:r>
            <a:r>
              <a:rPr lang="de-DE" sz="2200" dirty="0"/>
              <a:t>verbunden – insbesondere auch, weil viele Vorgaben unklar und auslegungsbedürftig sind</a:t>
            </a:r>
          </a:p>
          <a:p>
            <a:pPr>
              <a:buClr>
                <a:srgbClr val="4B93A9"/>
              </a:buClr>
            </a:pPr>
            <a:r>
              <a:rPr lang="de-DE" sz="2200" b="1" dirty="0"/>
              <a:t>praktische Anleitungen </a:t>
            </a:r>
            <a:r>
              <a:rPr lang="de-DE" sz="2200" dirty="0"/>
              <a:t>zur Handhabung der Regelungen </a:t>
            </a:r>
            <a:r>
              <a:rPr lang="de-DE" sz="2200" b="1" dirty="0"/>
              <a:t>fehlen</a:t>
            </a:r>
          </a:p>
          <a:p>
            <a:pPr marL="0" indent="0">
              <a:buClr>
                <a:srgbClr val="4B93A9"/>
              </a:buClr>
              <a:buNone/>
            </a:pPr>
            <a:endParaRPr lang="de-DE" sz="2200" b="1" dirty="0"/>
          </a:p>
          <a:p>
            <a:pPr>
              <a:buClr>
                <a:srgbClr val="4B93A9"/>
              </a:buClr>
            </a:pPr>
            <a:r>
              <a:rPr lang="de-DE" sz="2200" dirty="0">
                <a:solidFill>
                  <a:srgbClr val="4B93A9"/>
                </a:solidFill>
              </a:rPr>
              <a:t>Wünschenswert wären europaweit einheitliche Regelungen zum Beschäftigtendatenschutz</a:t>
            </a:r>
          </a:p>
          <a:p>
            <a:endParaRPr lang="de-DE" dirty="0"/>
          </a:p>
        </p:txBody>
      </p:sp>
      <p:sp>
        <p:nvSpPr>
          <p:cNvPr id="5" name="Fußzeilenplatzhalter 4">
            <a:extLst>
              <a:ext uri="{FF2B5EF4-FFF2-40B4-BE49-F238E27FC236}">
                <a16:creationId xmlns:a16="http://schemas.microsoft.com/office/drawing/2014/main" id="{71998084-1CFC-4E6D-AE2E-A48085ECB104}"/>
              </a:ext>
            </a:extLst>
          </p:cNvPr>
          <p:cNvSpPr>
            <a:spLocks noGrp="1"/>
          </p:cNvSpPr>
          <p:nvPr>
            <p:ph type="ftr" sz="quarter" idx="17"/>
          </p:nvPr>
        </p:nvSpPr>
        <p:spPr/>
        <p:txBody>
          <a:bodyPr/>
          <a:lstStyle/>
          <a:p>
            <a:r>
              <a:rPr lang="de-DE" dirty="0"/>
              <a:t> © RA Stephan Schmidt | TCI Rechtsanwälte 2019</a:t>
            </a:r>
          </a:p>
        </p:txBody>
      </p:sp>
      <p:sp>
        <p:nvSpPr>
          <p:cNvPr id="6" name="Foliennummernplatzhalter 5">
            <a:extLst>
              <a:ext uri="{FF2B5EF4-FFF2-40B4-BE49-F238E27FC236}">
                <a16:creationId xmlns:a16="http://schemas.microsoft.com/office/drawing/2014/main" id="{55BB9279-4236-4B21-B6A9-B9B8A5B100F9}"/>
              </a:ext>
            </a:extLst>
          </p:cNvPr>
          <p:cNvSpPr>
            <a:spLocks noGrp="1"/>
          </p:cNvSpPr>
          <p:nvPr>
            <p:ph type="sldNum" sz="quarter" idx="18"/>
          </p:nvPr>
        </p:nvSpPr>
        <p:spPr/>
        <p:txBody>
          <a:bodyPr/>
          <a:lstStyle/>
          <a:p>
            <a:fld id="{2B4A8978-7379-4EE5-A30C-C3165A133675}" type="slidenum">
              <a:rPr lang="de-DE" smtClean="0"/>
              <a:pPr/>
              <a:t>2</a:t>
            </a:fld>
            <a:endParaRPr lang="de-DE" dirty="0"/>
          </a:p>
        </p:txBody>
      </p:sp>
    </p:spTree>
    <p:extLst>
      <p:ext uri="{BB962C8B-B14F-4D97-AF65-F5344CB8AC3E}">
        <p14:creationId xmlns:p14="http://schemas.microsoft.com/office/powerpoint/2010/main" val="1941329845"/>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B16DCA-1A94-4E6D-AB0E-492944F06C36}"/>
              </a:ext>
            </a:extLst>
          </p:cNvPr>
          <p:cNvSpPr>
            <a:spLocks noGrp="1"/>
          </p:cNvSpPr>
          <p:nvPr>
            <p:ph type="title"/>
          </p:nvPr>
        </p:nvSpPr>
        <p:spPr/>
        <p:txBody>
          <a:bodyPr/>
          <a:lstStyle/>
          <a:p>
            <a:r>
              <a:rPr lang="de-DE" dirty="0">
                <a:latin typeface="+mn-lt"/>
              </a:rPr>
              <a:t>Informationspflichten</a:t>
            </a:r>
          </a:p>
        </p:txBody>
      </p:sp>
      <p:sp>
        <p:nvSpPr>
          <p:cNvPr id="3" name="Textplatzhalter 2">
            <a:extLst>
              <a:ext uri="{FF2B5EF4-FFF2-40B4-BE49-F238E27FC236}">
                <a16:creationId xmlns:a16="http://schemas.microsoft.com/office/drawing/2014/main" id="{D21EA687-C114-4FA1-AD18-9B687BCC11CC}"/>
              </a:ext>
            </a:extLst>
          </p:cNvPr>
          <p:cNvSpPr>
            <a:spLocks noGrp="1"/>
          </p:cNvSpPr>
          <p:nvPr>
            <p:ph type="body" sz="quarter" idx="13"/>
          </p:nvPr>
        </p:nvSpPr>
        <p:spPr/>
        <p:txBody>
          <a:bodyPr/>
          <a:lstStyle/>
          <a:p>
            <a:r>
              <a:rPr lang="de-DE" dirty="0"/>
              <a:t>Mehrebenen-Ansatz und Medienbruch </a:t>
            </a:r>
          </a:p>
        </p:txBody>
      </p:sp>
      <p:sp>
        <p:nvSpPr>
          <p:cNvPr id="4" name="Textplatzhalter 3">
            <a:extLst>
              <a:ext uri="{FF2B5EF4-FFF2-40B4-BE49-F238E27FC236}">
                <a16:creationId xmlns:a16="http://schemas.microsoft.com/office/drawing/2014/main" id="{8C61445E-5D77-4177-B582-5B7831E5DEE9}"/>
              </a:ext>
            </a:extLst>
          </p:cNvPr>
          <p:cNvSpPr>
            <a:spLocks noGrp="1"/>
          </p:cNvSpPr>
          <p:nvPr>
            <p:ph type="body" sz="quarter" idx="15"/>
          </p:nvPr>
        </p:nvSpPr>
        <p:spPr>
          <a:xfrm>
            <a:off x="617575" y="1412453"/>
            <a:ext cx="10734215" cy="4969297"/>
          </a:xfrm>
        </p:spPr>
        <p:txBody>
          <a:bodyPr/>
          <a:lstStyle/>
          <a:p>
            <a:pPr>
              <a:buClr>
                <a:srgbClr val="4B93A9"/>
              </a:buClr>
            </a:pPr>
            <a:r>
              <a:rPr lang="de-DE" sz="2200" dirty="0"/>
              <a:t>es muss über </a:t>
            </a:r>
            <a:r>
              <a:rPr lang="de-DE" sz="2200" b="1" dirty="0"/>
              <a:t>14 einzelne „Punkte“</a:t>
            </a:r>
            <a:r>
              <a:rPr lang="de-DE" sz="2200" dirty="0"/>
              <a:t> „</a:t>
            </a:r>
            <a:r>
              <a:rPr lang="de-DE" sz="2200" b="1" dirty="0"/>
              <a:t>leicht zugänglich“ </a:t>
            </a:r>
            <a:r>
              <a:rPr lang="de-DE" sz="2200" dirty="0"/>
              <a:t>informiert werden – und das gilt nur dann, wenn man alle Betroffenenrechte als einen Punkt zählt und die Daten direkt beim Betroffen erhoben werden</a:t>
            </a:r>
          </a:p>
          <a:p>
            <a:pPr>
              <a:buClr>
                <a:srgbClr val="4B93A9"/>
              </a:buClr>
            </a:pPr>
            <a:r>
              <a:rPr lang="de-DE" sz="2200" dirty="0"/>
              <a:t>Datenschutzerklärungen von Webseiten (bei Schriftart Arial und Schriftgröße 12)</a:t>
            </a:r>
            <a:endParaRPr lang="de-DE" dirty="0"/>
          </a:p>
          <a:p>
            <a:pPr lvl="1">
              <a:buClr>
                <a:srgbClr val="4B93A9"/>
              </a:buClr>
            </a:pPr>
            <a:r>
              <a:rPr lang="de-DE" sz="1800" dirty="0"/>
              <a:t>IHK Stuttgart 		– 16 Seiten (34.022 Zeichen)</a:t>
            </a:r>
          </a:p>
          <a:p>
            <a:pPr lvl="1">
              <a:buClr>
                <a:srgbClr val="4B93A9"/>
              </a:buClr>
            </a:pPr>
            <a:r>
              <a:rPr lang="de-DE" sz="1800" dirty="0"/>
              <a:t>LfDI Baden-Württemberg 	– 32 Seiten (48.575 Zeichen) </a:t>
            </a:r>
            <a:r>
              <a:rPr lang="de-DE" dirty="0"/>
              <a:t>(umfasst aber nicht nur die Webseite)</a:t>
            </a:r>
          </a:p>
          <a:p>
            <a:pPr lvl="1">
              <a:buClr>
                <a:srgbClr val="4B93A9"/>
              </a:buClr>
            </a:pPr>
            <a:r>
              <a:rPr lang="de-DE" sz="1800" dirty="0"/>
              <a:t>Google 			– 32 Seiten (51.282 Zeichen)</a:t>
            </a:r>
          </a:p>
          <a:p>
            <a:pPr lvl="1">
              <a:buClr>
                <a:srgbClr val="4B93A9"/>
              </a:buClr>
            </a:pPr>
            <a:r>
              <a:rPr lang="de-DE" sz="1800" dirty="0"/>
              <a:t>Bild.de 			– 40 Seiten (122.819 Zeichen)</a:t>
            </a:r>
          </a:p>
          <a:p>
            <a:pPr lvl="1">
              <a:buClr>
                <a:srgbClr val="4B93A9"/>
              </a:buClr>
            </a:pPr>
            <a:endParaRPr lang="de-DE" sz="1800" dirty="0"/>
          </a:p>
          <a:p>
            <a:pPr>
              <a:buClr>
                <a:srgbClr val="4B93A9"/>
              </a:buClr>
            </a:pPr>
            <a:r>
              <a:rPr lang="de-DE" sz="2000" dirty="0">
                <a:solidFill>
                  <a:srgbClr val="4B93A9"/>
                </a:solidFill>
              </a:rPr>
              <a:t>Wünschenswert wäre Klarstellung, dass Mehrebenen-Ansatz und Medienbruch zulässig sind</a:t>
            </a:r>
          </a:p>
          <a:p>
            <a:pPr>
              <a:buClr>
                <a:srgbClr val="4B93A9"/>
              </a:buClr>
            </a:pPr>
            <a:r>
              <a:rPr lang="de-DE" sz="2000" dirty="0"/>
              <a:t>Gemäß Art. 12 Abs. 7 DSGVO können die gebotenen Informationen mit standardisierten Bildsymbolen kombiniert werden</a:t>
            </a:r>
          </a:p>
          <a:p>
            <a:pPr>
              <a:buClr>
                <a:srgbClr val="4B93A9"/>
              </a:buClr>
            </a:pPr>
            <a:r>
              <a:rPr lang="de-DE" sz="2000" dirty="0">
                <a:solidFill>
                  <a:srgbClr val="4B93A9"/>
                </a:solidFill>
              </a:rPr>
              <a:t>Wünschenswert wäre Klarstellung, dass „kombiniert“ in Art 12 DSGVO in den Fällen „ersetzen“ meint, in denen ein Ersetzen möglich ist</a:t>
            </a:r>
            <a:endParaRPr lang="de-DE" sz="2000" dirty="0"/>
          </a:p>
          <a:p>
            <a:pPr marL="361950" lvl="1" indent="0">
              <a:buClr>
                <a:srgbClr val="4B93A9"/>
              </a:buClr>
              <a:buNone/>
            </a:pPr>
            <a:endParaRPr lang="de-DE" dirty="0"/>
          </a:p>
        </p:txBody>
      </p:sp>
      <p:sp>
        <p:nvSpPr>
          <p:cNvPr id="5" name="Fußzeilenplatzhalter 4">
            <a:extLst>
              <a:ext uri="{FF2B5EF4-FFF2-40B4-BE49-F238E27FC236}">
                <a16:creationId xmlns:a16="http://schemas.microsoft.com/office/drawing/2014/main" id="{D97C0D06-C185-49C9-A2CA-6BDFFB15AB26}"/>
              </a:ext>
            </a:extLst>
          </p:cNvPr>
          <p:cNvSpPr>
            <a:spLocks noGrp="1"/>
          </p:cNvSpPr>
          <p:nvPr>
            <p:ph type="ftr" sz="quarter" idx="17"/>
          </p:nvPr>
        </p:nvSpPr>
        <p:spPr>
          <a:xfrm>
            <a:off x="4160515" y="6511524"/>
            <a:ext cx="3859213" cy="207178"/>
          </a:xfrm>
        </p:spPr>
        <p:txBody>
          <a:bodyPr/>
          <a:lstStyle/>
          <a:p>
            <a:r>
              <a:rPr lang="de-DE" dirty="0"/>
              <a:t> © RA Stephan Schmidt | TCI Rechtsanwälte 2019</a:t>
            </a:r>
          </a:p>
        </p:txBody>
      </p:sp>
      <p:sp>
        <p:nvSpPr>
          <p:cNvPr id="6" name="Foliennummernplatzhalter 5">
            <a:extLst>
              <a:ext uri="{FF2B5EF4-FFF2-40B4-BE49-F238E27FC236}">
                <a16:creationId xmlns:a16="http://schemas.microsoft.com/office/drawing/2014/main" id="{E014D0A6-6FCF-4387-B932-FEBE765CD8A8}"/>
              </a:ext>
            </a:extLst>
          </p:cNvPr>
          <p:cNvSpPr>
            <a:spLocks noGrp="1"/>
          </p:cNvSpPr>
          <p:nvPr>
            <p:ph type="sldNum" sz="quarter" idx="18"/>
          </p:nvPr>
        </p:nvSpPr>
        <p:spPr/>
        <p:txBody>
          <a:bodyPr/>
          <a:lstStyle/>
          <a:p>
            <a:fld id="{2B4A8978-7379-4EE5-A30C-C3165A133675}" type="slidenum">
              <a:rPr lang="de-DE" smtClean="0"/>
              <a:pPr/>
              <a:t>3</a:t>
            </a:fld>
            <a:endParaRPr lang="de-DE" dirty="0"/>
          </a:p>
        </p:txBody>
      </p:sp>
    </p:spTree>
    <p:extLst>
      <p:ext uri="{BB962C8B-B14F-4D97-AF65-F5344CB8AC3E}">
        <p14:creationId xmlns:p14="http://schemas.microsoft.com/office/powerpoint/2010/main" val="3339581527"/>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B16DCA-1A94-4E6D-AB0E-492944F06C36}"/>
              </a:ext>
            </a:extLst>
          </p:cNvPr>
          <p:cNvSpPr>
            <a:spLocks noGrp="1"/>
          </p:cNvSpPr>
          <p:nvPr>
            <p:ph type="title"/>
          </p:nvPr>
        </p:nvSpPr>
        <p:spPr/>
        <p:txBody>
          <a:bodyPr/>
          <a:lstStyle/>
          <a:p>
            <a:r>
              <a:rPr lang="de-DE" dirty="0">
                <a:latin typeface="+mn-lt"/>
              </a:rPr>
              <a:t>Informationspflichten</a:t>
            </a:r>
          </a:p>
        </p:txBody>
      </p:sp>
      <p:sp>
        <p:nvSpPr>
          <p:cNvPr id="3" name="Textplatzhalter 2">
            <a:extLst>
              <a:ext uri="{FF2B5EF4-FFF2-40B4-BE49-F238E27FC236}">
                <a16:creationId xmlns:a16="http://schemas.microsoft.com/office/drawing/2014/main" id="{D21EA687-C114-4FA1-AD18-9B687BCC11CC}"/>
              </a:ext>
            </a:extLst>
          </p:cNvPr>
          <p:cNvSpPr>
            <a:spLocks noGrp="1"/>
          </p:cNvSpPr>
          <p:nvPr>
            <p:ph type="body" sz="quarter" idx="13"/>
          </p:nvPr>
        </p:nvSpPr>
        <p:spPr/>
        <p:txBody>
          <a:bodyPr/>
          <a:lstStyle/>
          <a:p>
            <a:r>
              <a:rPr lang="de-DE" dirty="0"/>
              <a:t>Fehlende Ausnahmen</a:t>
            </a:r>
          </a:p>
        </p:txBody>
      </p:sp>
      <p:sp>
        <p:nvSpPr>
          <p:cNvPr id="4" name="Textplatzhalter 3">
            <a:extLst>
              <a:ext uri="{FF2B5EF4-FFF2-40B4-BE49-F238E27FC236}">
                <a16:creationId xmlns:a16="http://schemas.microsoft.com/office/drawing/2014/main" id="{8C61445E-5D77-4177-B582-5B7831E5DEE9}"/>
              </a:ext>
            </a:extLst>
          </p:cNvPr>
          <p:cNvSpPr>
            <a:spLocks noGrp="1"/>
          </p:cNvSpPr>
          <p:nvPr>
            <p:ph type="body" sz="quarter" idx="15"/>
          </p:nvPr>
        </p:nvSpPr>
        <p:spPr>
          <a:xfrm>
            <a:off x="616030" y="1231242"/>
            <a:ext cx="9919939" cy="4969297"/>
          </a:xfrm>
        </p:spPr>
        <p:txBody>
          <a:bodyPr/>
          <a:lstStyle/>
          <a:p>
            <a:pPr>
              <a:buClr>
                <a:srgbClr val="4B93A9"/>
              </a:buClr>
            </a:pPr>
            <a:r>
              <a:rPr lang="de-DE" sz="2200" dirty="0"/>
              <a:t>Art. 13 DSGVO ist insgesamt nicht ausgewogen</a:t>
            </a:r>
          </a:p>
          <a:p>
            <a:pPr>
              <a:buClr>
                <a:srgbClr val="4B93A9"/>
              </a:buClr>
            </a:pPr>
            <a:r>
              <a:rPr lang="de-DE" sz="2200" dirty="0"/>
              <a:t>extensiv ausgelegte Informationspflichten führen zu einer </a:t>
            </a:r>
            <a:r>
              <a:rPr lang="de-DE" sz="2200" b="1" dirty="0"/>
              <a:t>Verletzung anderer Grundrechte</a:t>
            </a:r>
            <a:r>
              <a:rPr lang="de-DE" sz="2200" dirty="0"/>
              <a:t> der Grundrechtecharta der EU</a:t>
            </a:r>
          </a:p>
          <a:p>
            <a:pPr>
              <a:buClr>
                <a:srgbClr val="4B93A9"/>
              </a:buClr>
            </a:pPr>
            <a:r>
              <a:rPr lang="de-DE" sz="2200" dirty="0"/>
              <a:t>Zweifel, ob die in den §§ 32 und 33 BDSG vorgesehenen Beschränkungen der Informationspflichten nach Art. 23 DSGVO zulässig sind</a:t>
            </a:r>
          </a:p>
          <a:p>
            <a:pPr>
              <a:buClr>
                <a:srgbClr val="4B93A9"/>
              </a:buClr>
            </a:pPr>
            <a:r>
              <a:rPr lang="de-DE" sz="2200" dirty="0">
                <a:solidFill>
                  <a:srgbClr val="4B93A9"/>
                </a:solidFill>
              </a:rPr>
              <a:t>Wünschenswert wären (weitere) ausdrückliche Ausnahmeregelungen, z.B.:</a:t>
            </a:r>
          </a:p>
          <a:p>
            <a:pPr lvl="1">
              <a:buClr>
                <a:srgbClr val="4B93A9"/>
              </a:buClr>
            </a:pPr>
            <a:r>
              <a:rPr lang="de-DE" sz="2000" dirty="0">
                <a:solidFill>
                  <a:srgbClr val="4B93A9"/>
                </a:solidFill>
              </a:rPr>
              <a:t>für die Datenverarbeitung zu privilegierten Zwecken</a:t>
            </a:r>
          </a:p>
          <a:p>
            <a:pPr lvl="1">
              <a:buClr>
                <a:srgbClr val="4B93A9"/>
              </a:buClr>
            </a:pPr>
            <a:r>
              <a:rPr lang="de-DE" sz="2000" dirty="0">
                <a:solidFill>
                  <a:srgbClr val="4B93A9"/>
                </a:solidFill>
              </a:rPr>
              <a:t>zugunsten Unternehmen, deren Datenverarbeitung nicht Zweck der Geschäftstätigkeit ist</a:t>
            </a:r>
          </a:p>
          <a:p>
            <a:pPr lvl="1">
              <a:buClr>
                <a:srgbClr val="4B93A9"/>
              </a:buClr>
            </a:pPr>
            <a:r>
              <a:rPr lang="de-DE" sz="2000" dirty="0">
                <a:solidFill>
                  <a:srgbClr val="4B93A9"/>
                </a:solidFill>
              </a:rPr>
              <a:t>zugunsten der Geheimhaltungsinteressen des Verantwortlichen und </a:t>
            </a:r>
          </a:p>
          <a:p>
            <a:pPr lvl="1">
              <a:buClr>
                <a:srgbClr val="4B93A9"/>
              </a:buClr>
            </a:pPr>
            <a:r>
              <a:rPr lang="de-DE" sz="2000" dirty="0">
                <a:solidFill>
                  <a:srgbClr val="4B93A9"/>
                </a:solidFill>
              </a:rPr>
              <a:t>bei Unverhältnismäßigkeit</a:t>
            </a:r>
          </a:p>
          <a:p>
            <a:pPr>
              <a:buClr>
                <a:srgbClr val="4B93A9"/>
              </a:buClr>
            </a:pPr>
            <a:r>
              <a:rPr lang="de-DE" sz="2200" dirty="0"/>
              <a:t>Art. 14 DSGVO schränkt Datenverarbeitung bei öffentlich zugänglichen Quellen unverhältnismäßig ein (</a:t>
            </a:r>
            <a:r>
              <a:rPr lang="de-DE" sz="2200" b="1" dirty="0"/>
              <a:t>„</a:t>
            </a:r>
            <a:r>
              <a:rPr lang="de-DE" sz="2200" b="1" dirty="0" err="1"/>
              <a:t>chilling</a:t>
            </a:r>
            <a:r>
              <a:rPr lang="de-DE" sz="2200" b="1" dirty="0"/>
              <a:t> </a:t>
            </a:r>
            <a:r>
              <a:rPr lang="de-DE" sz="2200" b="1" dirty="0" err="1"/>
              <a:t>effect</a:t>
            </a:r>
            <a:r>
              <a:rPr lang="de-DE" sz="2200" b="1" dirty="0"/>
              <a:t>“</a:t>
            </a:r>
            <a:r>
              <a:rPr lang="de-DE" sz="2200" dirty="0"/>
              <a:t>)</a:t>
            </a:r>
          </a:p>
          <a:p>
            <a:pPr>
              <a:buClr>
                <a:srgbClr val="4B93A9"/>
              </a:buClr>
            </a:pPr>
            <a:endParaRPr lang="de-DE" dirty="0"/>
          </a:p>
        </p:txBody>
      </p:sp>
      <p:sp>
        <p:nvSpPr>
          <p:cNvPr id="5" name="Fußzeilenplatzhalter 4">
            <a:extLst>
              <a:ext uri="{FF2B5EF4-FFF2-40B4-BE49-F238E27FC236}">
                <a16:creationId xmlns:a16="http://schemas.microsoft.com/office/drawing/2014/main" id="{D97C0D06-C185-49C9-A2CA-6BDFFB15AB26}"/>
              </a:ext>
            </a:extLst>
          </p:cNvPr>
          <p:cNvSpPr>
            <a:spLocks noGrp="1"/>
          </p:cNvSpPr>
          <p:nvPr>
            <p:ph type="ftr" sz="quarter" idx="17"/>
          </p:nvPr>
        </p:nvSpPr>
        <p:spPr/>
        <p:txBody>
          <a:bodyPr/>
          <a:lstStyle/>
          <a:p>
            <a:r>
              <a:rPr lang="de-DE" dirty="0"/>
              <a:t> © RA Stephan Schmidt | TCI Rechtsanwälte 2019</a:t>
            </a:r>
          </a:p>
        </p:txBody>
      </p:sp>
      <p:sp>
        <p:nvSpPr>
          <p:cNvPr id="6" name="Foliennummernplatzhalter 5">
            <a:extLst>
              <a:ext uri="{FF2B5EF4-FFF2-40B4-BE49-F238E27FC236}">
                <a16:creationId xmlns:a16="http://schemas.microsoft.com/office/drawing/2014/main" id="{E014D0A6-6FCF-4387-B932-FEBE765CD8A8}"/>
              </a:ext>
            </a:extLst>
          </p:cNvPr>
          <p:cNvSpPr>
            <a:spLocks noGrp="1"/>
          </p:cNvSpPr>
          <p:nvPr>
            <p:ph type="sldNum" sz="quarter" idx="18"/>
          </p:nvPr>
        </p:nvSpPr>
        <p:spPr/>
        <p:txBody>
          <a:bodyPr/>
          <a:lstStyle/>
          <a:p>
            <a:fld id="{2B4A8978-7379-4EE5-A30C-C3165A133675}" type="slidenum">
              <a:rPr lang="de-DE" smtClean="0"/>
              <a:pPr/>
              <a:t>4</a:t>
            </a:fld>
            <a:endParaRPr lang="de-DE" dirty="0"/>
          </a:p>
        </p:txBody>
      </p:sp>
    </p:spTree>
    <p:extLst>
      <p:ext uri="{BB962C8B-B14F-4D97-AF65-F5344CB8AC3E}">
        <p14:creationId xmlns:p14="http://schemas.microsoft.com/office/powerpoint/2010/main" val="2367255819"/>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B16DCA-1A94-4E6D-AB0E-492944F06C36}"/>
              </a:ext>
            </a:extLst>
          </p:cNvPr>
          <p:cNvSpPr>
            <a:spLocks noGrp="1"/>
          </p:cNvSpPr>
          <p:nvPr>
            <p:ph type="title"/>
          </p:nvPr>
        </p:nvSpPr>
        <p:spPr/>
        <p:txBody>
          <a:bodyPr/>
          <a:lstStyle/>
          <a:p>
            <a:r>
              <a:rPr lang="de-DE" dirty="0">
                <a:latin typeface="+mn-lt"/>
              </a:rPr>
              <a:t>Informationspflichten</a:t>
            </a:r>
          </a:p>
        </p:txBody>
      </p:sp>
      <p:sp>
        <p:nvSpPr>
          <p:cNvPr id="3" name="Textplatzhalter 2">
            <a:extLst>
              <a:ext uri="{FF2B5EF4-FFF2-40B4-BE49-F238E27FC236}">
                <a16:creationId xmlns:a16="http://schemas.microsoft.com/office/drawing/2014/main" id="{D21EA687-C114-4FA1-AD18-9B687BCC11CC}"/>
              </a:ext>
            </a:extLst>
          </p:cNvPr>
          <p:cNvSpPr>
            <a:spLocks noGrp="1"/>
          </p:cNvSpPr>
          <p:nvPr>
            <p:ph type="body" sz="quarter" idx="13"/>
          </p:nvPr>
        </p:nvSpPr>
        <p:spPr/>
        <p:txBody>
          <a:bodyPr/>
          <a:lstStyle/>
          <a:p>
            <a:r>
              <a:rPr lang="de-DE" dirty="0"/>
              <a:t>Angabe von Empfängern</a:t>
            </a:r>
          </a:p>
          <a:p>
            <a:endParaRPr lang="de-DE" dirty="0"/>
          </a:p>
        </p:txBody>
      </p:sp>
      <p:sp>
        <p:nvSpPr>
          <p:cNvPr id="4" name="Textplatzhalter 3">
            <a:extLst>
              <a:ext uri="{FF2B5EF4-FFF2-40B4-BE49-F238E27FC236}">
                <a16:creationId xmlns:a16="http://schemas.microsoft.com/office/drawing/2014/main" id="{8C61445E-5D77-4177-B582-5B7831E5DEE9}"/>
              </a:ext>
            </a:extLst>
          </p:cNvPr>
          <p:cNvSpPr>
            <a:spLocks noGrp="1"/>
          </p:cNvSpPr>
          <p:nvPr>
            <p:ph type="body" sz="quarter" idx="15"/>
          </p:nvPr>
        </p:nvSpPr>
        <p:spPr>
          <a:xfrm>
            <a:off x="617575" y="1412453"/>
            <a:ext cx="10158151" cy="4969297"/>
          </a:xfrm>
        </p:spPr>
        <p:txBody>
          <a:bodyPr/>
          <a:lstStyle/>
          <a:p>
            <a:pPr>
              <a:buClr>
                <a:srgbClr val="4B93A9"/>
              </a:buClr>
            </a:pPr>
            <a:r>
              <a:rPr lang="de-DE" sz="2200" dirty="0"/>
              <a:t>Nach dem Wortlaut von Art. 13 Abs. 1 </a:t>
            </a:r>
            <a:r>
              <a:rPr lang="de-DE" sz="2200" dirty="0" err="1"/>
              <a:t>lit</a:t>
            </a:r>
            <a:r>
              <a:rPr lang="de-DE" sz="2200" dirty="0"/>
              <a:t>. e) DSGVO sind </a:t>
            </a:r>
            <a:r>
              <a:rPr lang="de-DE" sz="2200" b="1" dirty="0"/>
              <a:t>„gegebenenfalls die Empfänger oder Kategorien von Empfängern“ anzugeben</a:t>
            </a:r>
          </a:p>
          <a:p>
            <a:pPr>
              <a:buClr>
                <a:srgbClr val="4B93A9"/>
              </a:buClr>
            </a:pPr>
            <a:r>
              <a:rPr lang="de-DE" sz="2200" dirty="0"/>
              <a:t>Regelung wird von </a:t>
            </a:r>
            <a:r>
              <a:rPr lang="de-DE" sz="2200" dirty="0" err="1"/>
              <a:t>h.M</a:t>
            </a:r>
            <a:r>
              <a:rPr lang="de-DE" sz="2200" dirty="0"/>
              <a:t>. dahingehend verstanden, dass konkreter Empfänger zu benennen ist, wenn dieser bei der Datenerhebung bereits absehbar ist</a:t>
            </a:r>
          </a:p>
          <a:p>
            <a:pPr>
              <a:buClr>
                <a:srgbClr val="4B93A9"/>
              </a:buClr>
            </a:pPr>
            <a:r>
              <a:rPr lang="de-DE" sz="2200" b="1" dirty="0"/>
              <a:t>Problem für „</a:t>
            </a:r>
            <a:r>
              <a:rPr lang="de-DE" sz="2200" b="1" dirty="0" err="1"/>
              <a:t>Whitelabel</a:t>
            </a:r>
            <a:r>
              <a:rPr lang="de-DE" sz="2200" b="1" dirty="0"/>
              <a:t>-Lösungen“ </a:t>
            </a:r>
            <a:r>
              <a:rPr lang="de-DE" sz="2200" dirty="0"/>
              <a:t>bei der Auftragsverarbeitung</a:t>
            </a:r>
          </a:p>
          <a:p>
            <a:pPr>
              <a:buClr>
                <a:srgbClr val="4B93A9"/>
              </a:buClr>
            </a:pPr>
            <a:r>
              <a:rPr lang="de-DE" sz="2200" dirty="0"/>
              <a:t>Anbieter/Auftragsverarbeiter ist Empfänger von Daten und daher zu benennen</a:t>
            </a:r>
          </a:p>
          <a:p>
            <a:pPr>
              <a:buClr>
                <a:srgbClr val="4B93A9"/>
              </a:buClr>
            </a:pPr>
            <a:r>
              <a:rPr lang="de-DE" sz="2200" dirty="0"/>
              <a:t>Kunde wird auf Zulieferer/Auftragsverarbeiter hingewiesen und eine wirtschaftsfreundliche Lösung dadurch erschwert / unmöglich gemacht</a:t>
            </a:r>
          </a:p>
          <a:p>
            <a:pPr>
              <a:buClr>
                <a:srgbClr val="4B93A9"/>
              </a:buClr>
            </a:pPr>
            <a:r>
              <a:rPr lang="de-DE" sz="2200" dirty="0"/>
              <a:t>der Betroffene ist ausreichend durch das Auskunftsrecht geschützt</a:t>
            </a:r>
          </a:p>
          <a:p>
            <a:pPr>
              <a:buClr>
                <a:srgbClr val="4B93A9"/>
              </a:buClr>
            </a:pPr>
            <a:r>
              <a:rPr lang="de-DE" sz="2200" dirty="0">
                <a:solidFill>
                  <a:srgbClr val="4B93A9"/>
                </a:solidFill>
              </a:rPr>
              <a:t>Wünschenswert wäre Klarstellung, dass selbst dann eine Angabe einer Kategorie von Empfängern ausreichend ist, wenn der Verantwortliche den/die Empfänger konkret kennt</a:t>
            </a:r>
          </a:p>
          <a:p>
            <a:pPr>
              <a:buClr>
                <a:srgbClr val="4B93A9"/>
              </a:buClr>
            </a:pPr>
            <a:endParaRPr lang="de-DE" dirty="0"/>
          </a:p>
        </p:txBody>
      </p:sp>
      <p:sp>
        <p:nvSpPr>
          <p:cNvPr id="5" name="Fußzeilenplatzhalter 4">
            <a:extLst>
              <a:ext uri="{FF2B5EF4-FFF2-40B4-BE49-F238E27FC236}">
                <a16:creationId xmlns:a16="http://schemas.microsoft.com/office/drawing/2014/main" id="{D97C0D06-C185-49C9-A2CA-6BDFFB15AB26}"/>
              </a:ext>
            </a:extLst>
          </p:cNvPr>
          <p:cNvSpPr>
            <a:spLocks noGrp="1"/>
          </p:cNvSpPr>
          <p:nvPr>
            <p:ph type="ftr" sz="quarter" idx="17"/>
          </p:nvPr>
        </p:nvSpPr>
        <p:spPr/>
        <p:txBody>
          <a:bodyPr/>
          <a:lstStyle/>
          <a:p>
            <a:r>
              <a:rPr lang="de-DE" dirty="0"/>
              <a:t> © RA Stephan Schmidt | TCI Rechtsanwälte 2019</a:t>
            </a:r>
          </a:p>
        </p:txBody>
      </p:sp>
      <p:sp>
        <p:nvSpPr>
          <p:cNvPr id="6" name="Foliennummernplatzhalter 5">
            <a:extLst>
              <a:ext uri="{FF2B5EF4-FFF2-40B4-BE49-F238E27FC236}">
                <a16:creationId xmlns:a16="http://schemas.microsoft.com/office/drawing/2014/main" id="{E014D0A6-6FCF-4387-B932-FEBE765CD8A8}"/>
              </a:ext>
            </a:extLst>
          </p:cNvPr>
          <p:cNvSpPr>
            <a:spLocks noGrp="1"/>
          </p:cNvSpPr>
          <p:nvPr>
            <p:ph type="sldNum" sz="quarter" idx="18"/>
          </p:nvPr>
        </p:nvSpPr>
        <p:spPr/>
        <p:txBody>
          <a:bodyPr/>
          <a:lstStyle/>
          <a:p>
            <a:fld id="{2B4A8978-7379-4EE5-A30C-C3165A133675}" type="slidenum">
              <a:rPr lang="de-DE" smtClean="0"/>
              <a:pPr/>
              <a:t>5</a:t>
            </a:fld>
            <a:endParaRPr lang="de-DE" dirty="0"/>
          </a:p>
        </p:txBody>
      </p:sp>
    </p:spTree>
    <p:extLst>
      <p:ext uri="{BB962C8B-B14F-4D97-AF65-F5344CB8AC3E}">
        <p14:creationId xmlns:p14="http://schemas.microsoft.com/office/powerpoint/2010/main" val="2617167027"/>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B16DCA-1A94-4E6D-AB0E-492944F06C36}"/>
              </a:ext>
            </a:extLst>
          </p:cNvPr>
          <p:cNvSpPr>
            <a:spLocks noGrp="1"/>
          </p:cNvSpPr>
          <p:nvPr>
            <p:ph type="title"/>
          </p:nvPr>
        </p:nvSpPr>
        <p:spPr/>
        <p:txBody>
          <a:bodyPr/>
          <a:lstStyle/>
          <a:p>
            <a:r>
              <a:rPr lang="de-DE" dirty="0">
                <a:latin typeface="+mn-lt"/>
              </a:rPr>
              <a:t>Auftragsverarbeitung</a:t>
            </a:r>
          </a:p>
        </p:txBody>
      </p:sp>
      <p:sp>
        <p:nvSpPr>
          <p:cNvPr id="3" name="Textplatzhalter 2">
            <a:extLst>
              <a:ext uri="{FF2B5EF4-FFF2-40B4-BE49-F238E27FC236}">
                <a16:creationId xmlns:a16="http://schemas.microsoft.com/office/drawing/2014/main" id="{D21EA687-C114-4FA1-AD18-9B687BCC11CC}"/>
              </a:ext>
            </a:extLst>
          </p:cNvPr>
          <p:cNvSpPr>
            <a:spLocks noGrp="1"/>
          </p:cNvSpPr>
          <p:nvPr>
            <p:ph type="body" sz="quarter" idx="13"/>
          </p:nvPr>
        </p:nvSpPr>
        <p:spPr/>
        <p:txBody>
          <a:bodyPr/>
          <a:lstStyle/>
          <a:p>
            <a:endParaRPr lang="de-DE"/>
          </a:p>
        </p:txBody>
      </p:sp>
      <p:sp>
        <p:nvSpPr>
          <p:cNvPr id="4" name="Textplatzhalter 3">
            <a:extLst>
              <a:ext uri="{FF2B5EF4-FFF2-40B4-BE49-F238E27FC236}">
                <a16:creationId xmlns:a16="http://schemas.microsoft.com/office/drawing/2014/main" id="{8C61445E-5D77-4177-B582-5B7831E5DEE9}"/>
              </a:ext>
            </a:extLst>
          </p:cNvPr>
          <p:cNvSpPr>
            <a:spLocks noGrp="1"/>
          </p:cNvSpPr>
          <p:nvPr>
            <p:ph type="body" sz="quarter" idx="15"/>
          </p:nvPr>
        </p:nvSpPr>
        <p:spPr>
          <a:xfrm>
            <a:off x="617575" y="1412453"/>
            <a:ext cx="9919939" cy="4969297"/>
          </a:xfrm>
        </p:spPr>
        <p:txBody>
          <a:bodyPr/>
          <a:lstStyle/>
          <a:p>
            <a:pPr>
              <a:buClr>
                <a:srgbClr val="4B93A9"/>
              </a:buClr>
            </a:pPr>
            <a:r>
              <a:rPr lang="de-DE" sz="2200" dirty="0"/>
              <a:t>DSGVO erstreckt Vorgaben für Auftragsverarbeitungen auf die Mehrzahl internationaler Auftragsverarbeitungen mit EU-Bezug</a:t>
            </a:r>
          </a:p>
          <a:p>
            <a:pPr>
              <a:buClr>
                <a:srgbClr val="4B93A9"/>
              </a:buClr>
            </a:pPr>
            <a:r>
              <a:rPr lang="de-DE" sz="2200" dirty="0"/>
              <a:t>daher in der Praxis oft Auftragsverarbeitung + Standardvertragsklauseln</a:t>
            </a:r>
          </a:p>
          <a:p>
            <a:pPr lvl="1">
              <a:buClr>
                <a:srgbClr val="4B93A9"/>
              </a:buClr>
            </a:pPr>
            <a:r>
              <a:rPr lang="de-DE" sz="2000" dirty="0">
                <a:solidFill>
                  <a:srgbClr val="4B93A9"/>
                </a:solidFill>
              </a:rPr>
              <a:t>wobei Muster nach Art. 46 Abs. 2 </a:t>
            </a:r>
            <a:r>
              <a:rPr lang="de-DE" sz="2000" dirty="0" err="1">
                <a:solidFill>
                  <a:srgbClr val="4B93A9"/>
                </a:solidFill>
              </a:rPr>
              <a:t>lit</a:t>
            </a:r>
            <a:r>
              <a:rPr lang="de-DE" sz="2000" dirty="0">
                <a:solidFill>
                  <a:srgbClr val="4B93A9"/>
                </a:solidFill>
              </a:rPr>
              <a:t>. d DSGVO immer noch fehlen</a:t>
            </a:r>
          </a:p>
          <a:p>
            <a:pPr>
              <a:buClr>
                <a:srgbClr val="4B93A9"/>
              </a:buClr>
            </a:pPr>
            <a:r>
              <a:rPr lang="de-DE" sz="2200" dirty="0"/>
              <a:t>unklar, wie mit Widersprüchen umgegangen werden soll</a:t>
            </a:r>
          </a:p>
          <a:p>
            <a:pPr>
              <a:buClr>
                <a:srgbClr val="4B93A9"/>
              </a:buClr>
            </a:pPr>
            <a:r>
              <a:rPr lang="de-DE" sz="2200" dirty="0"/>
              <a:t>Anforderungen sind für Cloud Computing Anbieter kaum umzusetzen</a:t>
            </a:r>
          </a:p>
          <a:p>
            <a:pPr>
              <a:buClr>
                <a:srgbClr val="4B93A9"/>
              </a:buClr>
            </a:pPr>
            <a:r>
              <a:rPr lang="de-DE" sz="2200" dirty="0"/>
              <a:t>zweifelhaft, ob den Anforderungen aus Art. 28 DSGVO künftig im Wege von Verhaltensregeln (Art. 40 DSGVO) und Zertifizierungen (Art. 42 DSGVO) entsprochen werden kann</a:t>
            </a:r>
          </a:p>
          <a:p>
            <a:pPr>
              <a:buClr>
                <a:srgbClr val="4B93A9"/>
              </a:buClr>
            </a:pPr>
            <a:r>
              <a:rPr lang="de-DE" sz="2200" dirty="0"/>
              <a:t>die Folge ist das </a:t>
            </a:r>
            <a:r>
              <a:rPr lang="de-DE" sz="2200" b="1" dirty="0"/>
              <a:t>Risiko</a:t>
            </a:r>
            <a:r>
              <a:rPr lang="de-DE" sz="2200" dirty="0"/>
              <a:t> für Anbieter und Modelle, dass Verarbeitung als </a:t>
            </a:r>
            <a:r>
              <a:rPr lang="de-DE" sz="2200" b="1" dirty="0"/>
              <a:t>fehlerhafte Auftragsverarbeitung </a:t>
            </a:r>
            <a:r>
              <a:rPr lang="de-DE" sz="2200" dirty="0"/>
              <a:t>im Fall unerkannter Funktionsübertragung qualifiziert wird (Bußgeldrisiko)</a:t>
            </a:r>
          </a:p>
          <a:p>
            <a:pPr>
              <a:buClr>
                <a:srgbClr val="4B93A9"/>
              </a:buClr>
            </a:pPr>
            <a:r>
              <a:rPr lang="de-DE" sz="2200" dirty="0"/>
              <a:t>führt zu einer parallelen Verantwortlichkeit, die nach Maßgabe von Art. 26 DSGVO zu behandeln wäre</a:t>
            </a:r>
          </a:p>
          <a:p>
            <a:pPr>
              <a:buClr>
                <a:srgbClr val="4B93A9"/>
              </a:buClr>
            </a:pPr>
            <a:endParaRPr lang="de-DE" dirty="0"/>
          </a:p>
        </p:txBody>
      </p:sp>
      <p:sp>
        <p:nvSpPr>
          <p:cNvPr id="5" name="Fußzeilenplatzhalter 4">
            <a:extLst>
              <a:ext uri="{FF2B5EF4-FFF2-40B4-BE49-F238E27FC236}">
                <a16:creationId xmlns:a16="http://schemas.microsoft.com/office/drawing/2014/main" id="{D97C0D06-C185-49C9-A2CA-6BDFFB15AB26}"/>
              </a:ext>
            </a:extLst>
          </p:cNvPr>
          <p:cNvSpPr>
            <a:spLocks noGrp="1"/>
          </p:cNvSpPr>
          <p:nvPr>
            <p:ph type="ftr" sz="quarter" idx="17"/>
          </p:nvPr>
        </p:nvSpPr>
        <p:spPr/>
        <p:txBody>
          <a:bodyPr/>
          <a:lstStyle/>
          <a:p>
            <a:r>
              <a:rPr lang="de-DE" dirty="0"/>
              <a:t> © RA Stephan Schmidt | TCI Rechtsanwälte 2019</a:t>
            </a:r>
          </a:p>
        </p:txBody>
      </p:sp>
      <p:sp>
        <p:nvSpPr>
          <p:cNvPr id="6" name="Foliennummernplatzhalter 5">
            <a:extLst>
              <a:ext uri="{FF2B5EF4-FFF2-40B4-BE49-F238E27FC236}">
                <a16:creationId xmlns:a16="http://schemas.microsoft.com/office/drawing/2014/main" id="{E014D0A6-6FCF-4387-B932-FEBE765CD8A8}"/>
              </a:ext>
            </a:extLst>
          </p:cNvPr>
          <p:cNvSpPr>
            <a:spLocks noGrp="1"/>
          </p:cNvSpPr>
          <p:nvPr>
            <p:ph type="sldNum" sz="quarter" idx="18"/>
          </p:nvPr>
        </p:nvSpPr>
        <p:spPr/>
        <p:txBody>
          <a:bodyPr/>
          <a:lstStyle/>
          <a:p>
            <a:fld id="{2B4A8978-7379-4EE5-A30C-C3165A133675}" type="slidenum">
              <a:rPr lang="de-DE" smtClean="0"/>
              <a:pPr/>
              <a:t>6</a:t>
            </a:fld>
            <a:endParaRPr lang="de-DE" dirty="0"/>
          </a:p>
        </p:txBody>
      </p:sp>
    </p:spTree>
    <p:extLst>
      <p:ext uri="{BB962C8B-B14F-4D97-AF65-F5344CB8AC3E}">
        <p14:creationId xmlns:p14="http://schemas.microsoft.com/office/powerpoint/2010/main" val="3602100876"/>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B16DCA-1A94-4E6D-AB0E-492944F06C36}"/>
              </a:ext>
            </a:extLst>
          </p:cNvPr>
          <p:cNvSpPr>
            <a:spLocks noGrp="1"/>
          </p:cNvSpPr>
          <p:nvPr>
            <p:ph type="title"/>
          </p:nvPr>
        </p:nvSpPr>
        <p:spPr/>
        <p:txBody>
          <a:bodyPr/>
          <a:lstStyle/>
          <a:p>
            <a:r>
              <a:rPr lang="de-DE" dirty="0">
                <a:latin typeface="+mn-lt"/>
              </a:rPr>
              <a:t>Gemeinsame Verantwortlichkeit</a:t>
            </a:r>
          </a:p>
        </p:txBody>
      </p:sp>
      <p:sp>
        <p:nvSpPr>
          <p:cNvPr id="3" name="Textplatzhalter 2">
            <a:extLst>
              <a:ext uri="{FF2B5EF4-FFF2-40B4-BE49-F238E27FC236}">
                <a16:creationId xmlns:a16="http://schemas.microsoft.com/office/drawing/2014/main" id="{D21EA687-C114-4FA1-AD18-9B687BCC11CC}"/>
              </a:ext>
            </a:extLst>
          </p:cNvPr>
          <p:cNvSpPr>
            <a:spLocks noGrp="1"/>
          </p:cNvSpPr>
          <p:nvPr>
            <p:ph type="body" sz="quarter" idx="13"/>
          </p:nvPr>
        </p:nvSpPr>
        <p:spPr/>
        <p:txBody>
          <a:bodyPr/>
          <a:lstStyle/>
          <a:p>
            <a:endParaRPr lang="de-DE"/>
          </a:p>
        </p:txBody>
      </p:sp>
      <p:sp>
        <p:nvSpPr>
          <p:cNvPr id="4" name="Textplatzhalter 3">
            <a:extLst>
              <a:ext uri="{FF2B5EF4-FFF2-40B4-BE49-F238E27FC236}">
                <a16:creationId xmlns:a16="http://schemas.microsoft.com/office/drawing/2014/main" id="{8C61445E-5D77-4177-B582-5B7831E5DEE9}"/>
              </a:ext>
            </a:extLst>
          </p:cNvPr>
          <p:cNvSpPr>
            <a:spLocks noGrp="1"/>
          </p:cNvSpPr>
          <p:nvPr>
            <p:ph type="body" sz="quarter" idx="15"/>
          </p:nvPr>
        </p:nvSpPr>
        <p:spPr>
          <a:xfrm>
            <a:off x="622597" y="1412776"/>
            <a:ext cx="9919939" cy="4969297"/>
          </a:xfrm>
        </p:spPr>
        <p:txBody>
          <a:bodyPr/>
          <a:lstStyle/>
          <a:p>
            <a:pPr>
              <a:buClr>
                <a:srgbClr val="4B93A9"/>
              </a:buClr>
            </a:pPr>
            <a:r>
              <a:rPr lang="de-DE" sz="2200" dirty="0"/>
              <a:t>Betrifft viele Geschäftsmodelle in der digitalen Ökonomie, bei denen Unternehmen kooperieren und über Onlineplattformen Informationen austauschen</a:t>
            </a:r>
          </a:p>
          <a:p>
            <a:pPr>
              <a:buClr>
                <a:srgbClr val="4B93A9"/>
              </a:buClr>
            </a:pPr>
            <a:r>
              <a:rPr lang="de-DE" sz="2200" dirty="0"/>
              <a:t>bereits in der Datenschutzrichtlinie aus dem Jahr 1995 angelegt</a:t>
            </a:r>
          </a:p>
          <a:p>
            <a:pPr>
              <a:buClr>
                <a:srgbClr val="4B93A9"/>
              </a:buClr>
            </a:pPr>
            <a:r>
              <a:rPr lang="de-DE" sz="2200" dirty="0"/>
              <a:t>erheblicher Unterschied im Detailierungsgrad zu Art. 28 DSGVO nicht zu erklären</a:t>
            </a:r>
          </a:p>
          <a:p>
            <a:pPr>
              <a:buClr>
                <a:srgbClr val="4B93A9"/>
              </a:buClr>
            </a:pPr>
            <a:r>
              <a:rPr lang="de-DE" sz="2200" dirty="0"/>
              <a:t>Nichtabschluss einer den Anforderungen des Art. 26 DSGVO genügenden Vereinbarung zwischen den gemeinsam Verantwortlichen ist mit einem erheblichen Bußgeld bedroht</a:t>
            </a:r>
          </a:p>
          <a:p>
            <a:pPr>
              <a:buClr>
                <a:srgbClr val="4B93A9"/>
              </a:buClr>
            </a:pPr>
            <a:r>
              <a:rPr lang="de-DE" sz="2200" dirty="0">
                <a:solidFill>
                  <a:srgbClr val="4B93A9"/>
                </a:solidFill>
              </a:rPr>
              <a:t>Wünschenswert wäre eine dem Art. 28 DSGVO im Detailgrad vergleichbare Regelung, die für Verantwortliche mehr Sicherheit bringt</a:t>
            </a:r>
            <a:endParaRPr lang="de-DE" dirty="0">
              <a:solidFill>
                <a:srgbClr val="4B93A9"/>
              </a:solidFill>
            </a:endParaRPr>
          </a:p>
        </p:txBody>
      </p:sp>
      <p:sp>
        <p:nvSpPr>
          <p:cNvPr id="5" name="Fußzeilenplatzhalter 4">
            <a:extLst>
              <a:ext uri="{FF2B5EF4-FFF2-40B4-BE49-F238E27FC236}">
                <a16:creationId xmlns:a16="http://schemas.microsoft.com/office/drawing/2014/main" id="{D97C0D06-C185-49C9-A2CA-6BDFFB15AB26}"/>
              </a:ext>
            </a:extLst>
          </p:cNvPr>
          <p:cNvSpPr>
            <a:spLocks noGrp="1"/>
          </p:cNvSpPr>
          <p:nvPr>
            <p:ph type="ftr" sz="quarter" idx="17"/>
          </p:nvPr>
        </p:nvSpPr>
        <p:spPr/>
        <p:txBody>
          <a:bodyPr/>
          <a:lstStyle/>
          <a:p>
            <a:r>
              <a:rPr lang="de-DE" dirty="0"/>
              <a:t> © RA Stephan Schmidt | TCI Rechtsanwälte 2019</a:t>
            </a:r>
          </a:p>
        </p:txBody>
      </p:sp>
      <p:sp>
        <p:nvSpPr>
          <p:cNvPr id="6" name="Foliennummernplatzhalter 5">
            <a:extLst>
              <a:ext uri="{FF2B5EF4-FFF2-40B4-BE49-F238E27FC236}">
                <a16:creationId xmlns:a16="http://schemas.microsoft.com/office/drawing/2014/main" id="{E014D0A6-6FCF-4387-B932-FEBE765CD8A8}"/>
              </a:ext>
            </a:extLst>
          </p:cNvPr>
          <p:cNvSpPr>
            <a:spLocks noGrp="1"/>
          </p:cNvSpPr>
          <p:nvPr>
            <p:ph type="sldNum" sz="quarter" idx="18"/>
          </p:nvPr>
        </p:nvSpPr>
        <p:spPr/>
        <p:txBody>
          <a:bodyPr/>
          <a:lstStyle/>
          <a:p>
            <a:fld id="{2B4A8978-7379-4EE5-A30C-C3165A133675}" type="slidenum">
              <a:rPr lang="de-DE" smtClean="0"/>
              <a:pPr/>
              <a:t>7</a:t>
            </a:fld>
            <a:endParaRPr lang="de-DE" dirty="0"/>
          </a:p>
        </p:txBody>
      </p:sp>
    </p:spTree>
    <p:extLst>
      <p:ext uri="{BB962C8B-B14F-4D97-AF65-F5344CB8AC3E}">
        <p14:creationId xmlns:p14="http://schemas.microsoft.com/office/powerpoint/2010/main" val="68033047"/>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79C023-C3F3-43B1-97BD-738674B47729}"/>
              </a:ext>
            </a:extLst>
          </p:cNvPr>
          <p:cNvSpPr>
            <a:spLocks noGrp="1"/>
          </p:cNvSpPr>
          <p:nvPr>
            <p:ph type="title"/>
          </p:nvPr>
        </p:nvSpPr>
        <p:spPr>
          <a:xfrm>
            <a:off x="1054646" y="1998923"/>
            <a:ext cx="10081119" cy="884041"/>
          </a:xfrm>
        </p:spPr>
        <p:txBody>
          <a:bodyPr/>
          <a:lstStyle/>
          <a:p>
            <a:r>
              <a:rPr lang="de-DE" sz="6000" dirty="0">
                <a:latin typeface="+mn-lt"/>
              </a:rPr>
              <a:t>Vielen Dank!</a:t>
            </a:r>
          </a:p>
        </p:txBody>
      </p:sp>
      <p:sp>
        <p:nvSpPr>
          <p:cNvPr id="3" name="Fußzeilenplatzhalter 2">
            <a:extLst>
              <a:ext uri="{FF2B5EF4-FFF2-40B4-BE49-F238E27FC236}">
                <a16:creationId xmlns:a16="http://schemas.microsoft.com/office/drawing/2014/main" id="{23606ABB-4094-4DC7-A0DA-E4B56455121A}"/>
              </a:ext>
            </a:extLst>
          </p:cNvPr>
          <p:cNvSpPr>
            <a:spLocks noGrp="1"/>
          </p:cNvSpPr>
          <p:nvPr>
            <p:ph type="ftr" sz="quarter" idx="11"/>
          </p:nvPr>
        </p:nvSpPr>
        <p:spPr/>
        <p:txBody>
          <a:bodyPr/>
          <a:lstStyle/>
          <a:p>
            <a:r>
              <a:rPr lang="de-DE" dirty="0"/>
              <a:t> © RA Stephan Schmidt | TCI Rechtsanwälte 2019</a:t>
            </a:r>
          </a:p>
        </p:txBody>
      </p:sp>
      <p:sp>
        <p:nvSpPr>
          <p:cNvPr id="4" name="Foliennummernplatzhalter 3">
            <a:extLst>
              <a:ext uri="{FF2B5EF4-FFF2-40B4-BE49-F238E27FC236}">
                <a16:creationId xmlns:a16="http://schemas.microsoft.com/office/drawing/2014/main" id="{759039FB-DB8F-4323-B61B-60BF06A9C558}"/>
              </a:ext>
            </a:extLst>
          </p:cNvPr>
          <p:cNvSpPr>
            <a:spLocks noGrp="1"/>
          </p:cNvSpPr>
          <p:nvPr>
            <p:ph type="sldNum" sz="quarter" idx="12"/>
          </p:nvPr>
        </p:nvSpPr>
        <p:spPr/>
        <p:txBody>
          <a:bodyPr/>
          <a:lstStyle/>
          <a:p>
            <a:fld id="{2B4A8978-7379-4EE5-A30C-C3165A133675}" type="slidenum">
              <a:rPr lang="de-DE" smtClean="0"/>
              <a:pPr/>
              <a:t>8</a:t>
            </a:fld>
            <a:endParaRPr lang="de-DE" dirty="0"/>
          </a:p>
        </p:txBody>
      </p:sp>
      <p:sp>
        <p:nvSpPr>
          <p:cNvPr id="5" name="Text Box 12">
            <a:extLst>
              <a:ext uri="{FF2B5EF4-FFF2-40B4-BE49-F238E27FC236}">
                <a16:creationId xmlns:a16="http://schemas.microsoft.com/office/drawing/2014/main" id="{64B69C05-0CB3-4964-BD4F-4F0071A4943F}"/>
              </a:ext>
            </a:extLst>
          </p:cNvPr>
          <p:cNvSpPr txBox="1">
            <a:spLocks noChangeArrowheads="1"/>
          </p:cNvSpPr>
          <p:nvPr/>
        </p:nvSpPr>
        <p:spPr bwMode="auto">
          <a:xfrm>
            <a:off x="7463358" y="3356992"/>
            <a:ext cx="4432300" cy="2708434"/>
          </a:xfrm>
          <a:prstGeom prst="rect">
            <a:avLst/>
          </a:prstGeom>
          <a:noFill/>
          <a:ln w="9525">
            <a:noFill/>
            <a:miter lim="800000"/>
            <a:headEnd/>
            <a:tailEnd/>
          </a:ln>
        </p:spPr>
        <p:txBody>
          <a:bodyPr>
            <a:spAutoFit/>
          </a:bodyPr>
          <a:lstStyle/>
          <a:p>
            <a:pPr>
              <a:defRPr/>
            </a:pPr>
            <a:r>
              <a:rPr lang="de-DE" sz="1600" b="1" dirty="0">
                <a:solidFill>
                  <a:srgbClr val="25909B"/>
                </a:solidFill>
                <a:latin typeface="Arial" charset="0"/>
                <a:cs typeface="Arial" charset="0"/>
              </a:rPr>
              <a:t>Rechtsanwalt Stephan Schmidt</a:t>
            </a:r>
          </a:p>
          <a:p>
            <a:pPr>
              <a:defRPr/>
            </a:pPr>
            <a:r>
              <a:rPr lang="de-DE" sz="1400" dirty="0">
                <a:solidFill>
                  <a:srgbClr val="25909B"/>
                </a:solidFill>
                <a:latin typeface="Arial" charset="0"/>
                <a:cs typeface="Arial" charset="0"/>
              </a:rPr>
              <a:t>Fachanwalt für Informationstechnologierecht</a:t>
            </a:r>
          </a:p>
          <a:p>
            <a:pPr>
              <a:defRPr/>
            </a:pPr>
            <a:r>
              <a:rPr lang="de-DE" sz="1400" dirty="0">
                <a:solidFill>
                  <a:srgbClr val="25909B"/>
                </a:solidFill>
                <a:latin typeface="Arial" charset="0"/>
                <a:cs typeface="Arial" charset="0"/>
              </a:rPr>
              <a:t>Datenschutzbeauftragter | CIPP/E</a:t>
            </a:r>
          </a:p>
          <a:p>
            <a:pPr>
              <a:defRPr/>
            </a:pPr>
            <a:endParaRPr lang="de-DE" sz="1400" b="1" dirty="0">
              <a:solidFill>
                <a:schemeClr val="bg1">
                  <a:lumMod val="50000"/>
                </a:schemeClr>
              </a:solidFill>
              <a:latin typeface="Arial" charset="0"/>
              <a:cs typeface="Arial" charset="0"/>
            </a:endParaRPr>
          </a:p>
          <a:p>
            <a:pPr>
              <a:defRPr/>
            </a:pPr>
            <a:r>
              <a:rPr lang="de-DE" sz="1400" b="1" dirty="0">
                <a:solidFill>
                  <a:schemeClr val="bg1">
                    <a:lumMod val="50000"/>
                  </a:schemeClr>
                </a:solidFill>
                <a:latin typeface="Arial" charset="0"/>
                <a:cs typeface="Arial" charset="0"/>
              </a:rPr>
              <a:t>TCI Rechtsanwälte</a:t>
            </a:r>
          </a:p>
          <a:p>
            <a:pPr>
              <a:defRPr/>
            </a:pPr>
            <a:r>
              <a:rPr lang="de-DE" sz="1400" b="1" dirty="0">
                <a:solidFill>
                  <a:schemeClr val="bg1">
                    <a:lumMod val="50000"/>
                  </a:schemeClr>
                </a:solidFill>
                <a:latin typeface="Arial" charset="0"/>
                <a:cs typeface="Arial" charset="0"/>
              </a:rPr>
              <a:t>Isaac-Fulda-Allee 5</a:t>
            </a:r>
          </a:p>
          <a:p>
            <a:pPr>
              <a:defRPr/>
            </a:pPr>
            <a:r>
              <a:rPr lang="de-DE" sz="1400" b="1" dirty="0">
                <a:solidFill>
                  <a:schemeClr val="bg1">
                    <a:lumMod val="50000"/>
                  </a:schemeClr>
                </a:solidFill>
                <a:latin typeface="Arial" charset="0"/>
                <a:cs typeface="Arial" charset="0"/>
              </a:rPr>
              <a:t>D-55124 Mainz</a:t>
            </a:r>
          </a:p>
          <a:p>
            <a:pPr>
              <a:defRPr/>
            </a:pPr>
            <a:r>
              <a:rPr lang="de-DE" sz="1400" b="1" dirty="0">
                <a:solidFill>
                  <a:schemeClr val="bg1">
                    <a:lumMod val="50000"/>
                  </a:schemeClr>
                </a:solidFill>
                <a:latin typeface="Arial" charset="0"/>
                <a:cs typeface="Arial" charset="0"/>
              </a:rPr>
              <a:t>Telefon:	+49 - (0) 6131 - 302 90 460</a:t>
            </a:r>
            <a:br>
              <a:rPr lang="de-DE" sz="1400" b="1" dirty="0">
                <a:solidFill>
                  <a:schemeClr val="bg1">
                    <a:lumMod val="50000"/>
                  </a:schemeClr>
                </a:solidFill>
                <a:latin typeface="Arial" charset="0"/>
                <a:cs typeface="Arial" charset="0"/>
              </a:rPr>
            </a:br>
            <a:r>
              <a:rPr lang="de-DE" sz="1400" b="1" dirty="0">
                <a:solidFill>
                  <a:schemeClr val="bg1">
                    <a:lumMod val="50000"/>
                  </a:schemeClr>
                </a:solidFill>
                <a:latin typeface="Arial" charset="0"/>
                <a:cs typeface="Arial" charset="0"/>
              </a:rPr>
              <a:t>Telefax:	+49 - (0) 6131 - 302 90 466</a:t>
            </a:r>
          </a:p>
          <a:p>
            <a:pPr>
              <a:defRPr/>
            </a:pPr>
            <a:r>
              <a:rPr lang="de-DE" sz="1400" b="1" dirty="0">
                <a:solidFill>
                  <a:schemeClr val="bg1">
                    <a:lumMod val="50000"/>
                  </a:schemeClr>
                </a:solidFill>
                <a:latin typeface="Arial" charset="0"/>
                <a:cs typeface="Arial" charset="0"/>
              </a:rPr>
              <a:t>E-Mail:	sschmidt@tcilaw.de</a:t>
            </a:r>
            <a:br>
              <a:rPr lang="de-DE" sz="1400" b="1" dirty="0">
                <a:solidFill>
                  <a:schemeClr val="bg1">
                    <a:lumMod val="50000"/>
                  </a:schemeClr>
                </a:solidFill>
                <a:latin typeface="Arial" charset="0"/>
                <a:cs typeface="Arial" charset="0"/>
              </a:rPr>
            </a:br>
            <a:r>
              <a:rPr lang="de-DE" sz="1400" b="1" dirty="0">
                <a:solidFill>
                  <a:schemeClr val="bg1">
                    <a:lumMod val="50000"/>
                  </a:schemeClr>
                </a:solidFill>
                <a:latin typeface="Arial" charset="0"/>
                <a:cs typeface="Arial" charset="0"/>
              </a:rPr>
              <a:t>Internet: 	</a:t>
            </a:r>
            <a:r>
              <a:rPr lang="de-DE" sz="1400" b="1" dirty="0">
                <a:solidFill>
                  <a:schemeClr val="tx2"/>
                </a:solidFill>
                <a:latin typeface="Arial" charset="0"/>
                <a:cs typeface="Arial" charset="0"/>
                <a:hlinkClick r:id="rId3">
                  <a:extLst>
                    <a:ext uri="{A12FA001-AC4F-418D-AE19-62706E023703}">
                      <ahyp:hlinkClr xmlns:ahyp="http://schemas.microsoft.com/office/drawing/2018/hyperlinkcolor" val="tx"/>
                    </a:ext>
                  </a:extLst>
                </a:hlinkClick>
              </a:rPr>
              <a:t>www.tcilaw.de</a:t>
            </a:r>
            <a:endParaRPr lang="de-DE" sz="1400" b="1" dirty="0">
              <a:solidFill>
                <a:schemeClr val="tx2"/>
              </a:solidFill>
              <a:latin typeface="Arial" charset="0"/>
              <a:cs typeface="Arial" charset="0"/>
            </a:endParaRPr>
          </a:p>
          <a:p>
            <a:pPr>
              <a:defRPr/>
            </a:pPr>
            <a:r>
              <a:rPr lang="de-DE" sz="1400" b="1" dirty="0">
                <a:solidFill>
                  <a:schemeClr val="bg1">
                    <a:lumMod val="50000"/>
                  </a:schemeClr>
                </a:solidFill>
                <a:latin typeface="Arial" charset="0"/>
                <a:cs typeface="Arial" charset="0"/>
              </a:rPr>
              <a:t>Twitter: 	@</a:t>
            </a:r>
            <a:r>
              <a:rPr lang="de-DE" sz="1400" b="1" dirty="0" err="1">
                <a:solidFill>
                  <a:schemeClr val="bg1">
                    <a:lumMod val="50000"/>
                  </a:schemeClr>
                </a:solidFill>
                <a:latin typeface="Arial" charset="0"/>
                <a:cs typeface="Arial" charset="0"/>
              </a:rPr>
              <a:t>stephanschmidt</a:t>
            </a:r>
            <a:endParaRPr lang="de-DE" sz="1400" b="1" dirty="0">
              <a:solidFill>
                <a:schemeClr val="bg1">
                  <a:lumMod val="50000"/>
                </a:schemeClr>
              </a:solidFill>
              <a:latin typeface="Arial" charset="0"/>
              <a:cs typeface="Arial" charset="0"/>
            </a:endParaRPr>
          </a:p>
        </p:txBody>
      </p:sp>
    </p:spTree>
    <p:extLst>
      <p:ext uri="{BB962C8B-B14F-4D97-AF65-F5344CB8AC3E}">
        <p14:creationId xmlns:p14="http://schemas.microsoft.com/office/powerpoint/2010/main" val="3926814221"/>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RM_PPT_Master_V5">
  <a:themeElements>
    <a:clrScheme name="Benutzerdefiniert 5">
      <a:dk1>
        <a:sysClr val="windowText" lastClr="000000"/>
      </a:dk1>
      <a:lt1>
        <a:sysClr val="window" lastClr="FFFFFF"/>
      </a:lt1>
      <a:dk2>
        <a:srgbClr val="7F7F7F"/>
      </a:dk2>
      <a:lt2>
        <a:srgbClr val="F2F2F2"/>
      </a:lt2>
      <a:accent1>
        <a:srgbClr val="731E5A"/>
      </a:accent1>
      <a:accent2>
        <a:srgbClr val="A68A4D"/>
      </a:accent2>
      <a:accent3>
        <a:srgbClr val="2488C8"/>
      </a:accent3>
      <a:accent4>
        <a:srgbClr val="A4C900"/>
      </a:accent4>
      <a:accent5>
        <a:srgbClr val="731E5A"/>
      </a:accent5>
      <a:accent6>
        <a:srgbClr val="F9F2E3"/>
      </a:accent6>
      <a:hlink>
        <a:srgbClr val="FFF5B9"/>
      </a:hlink>
      <a:folHlink>
        <a:srgbClr val="731E5A"/>
      </a:folHlink>
    </a:clrScheme>
    <a:fontScheme name="RMS">
      <a:majorFont>
        <a:latin typeface="Cambria"/>
        <a:ea typeface=""/>
        <a:cs typeface=""/>
      </a:majorFont>
      <a:minorFont>
        <a:latin typeface="Tahom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orporate_Master_V4.pptx" id="{4AFDF477-4B69-46CF-9E7F-B30E174A2C4E}" vid="{E45BA47E-00B0-4B3F-926B-895FC11DEEB8}"/>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RM_PPT_Master_V4</Template>
  <TotalTime>0</TotalTime>
  <Words>1090</Words>
  <Application>Microsoft Office PowerPoint</Application>
  <PresentationFormat>Benutzerdefiniert</PresentationFormat>
  <Paragraphs>119</Paragraphs>
  <Slides>8</Slides>
  <Notes>8</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8</vt:i4>
      </vt:variant>
    </vt:vector>
  </HeadingPairs>
  <TitlesOfParts>
    <vt:vector size="13" baseType="lpstr">
      <vt:lpstr>Arial</vt:lpstr>
      <vt:lpstr>Calibri</vt:lpstr>
      <vt:lpstr>Cambria</vt:lpstr>
      <vt:lpstr>Tahoma</vt:lpstr>
      <vt:lpstr>RM_PPT_Master_V5</vt:lpstr>
      <vt:lpstr>1 Jahr DSGVO – Praxiserfahrungen und Evaluation</vt:lpstr>
      <vt:lpstr>Belastung für (kleinere) Unternehmen</vt:lpstr>
      <vt:lpstr>Informationspflichten</vt:lpstr>
      <vt:lpstr>Informationspflichten</vt:lpstr>
      <vt:lpstr>Informationspflichten</vt:lpstr>
      <vt:lpstr>Auftragsverarbeitung</vt:lpstr>
      <vt:lpstr>Gemeinsame Verantwortlichkeit</vt:lpstr>
      <vt:lpstr>Vielen Dan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n aus Folienmaster</dc:title>
  <dc:creator>Stephan Schmidt</dc:creator>
  <cp:lastModifiedBy>Stephan Schmidt (TCI)</cp:lastModifiedBy>
  <cp:revision>51</cp:revision>
  <cp:lastPrinted>2019-06-27T07:37:20Z</cp:lastPrinted>
  <dcterms:created xsi:type="dcterms:W3CDTF">2018-01-23T10:57:23Z</dcterms:created>
  <dcterms:modified xsi:type="dcterms:W3CDTF">2019-06-27T08:02:18Z</dcterms:modified>
</cp:coreProperties>
</file>